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6"/>
  </p:notesMasterIdLst>
  <p:sldIdLst>
    <p:sldId id="256" r:id="rId2"/>
    <p:sldId id="604" r:id="rId3"/>
    <p:sldId id="597" r:id="rId4"/>
    <p:sldId id="605" r:id="rId5"/>
    <p:sldId id="609" r:id="rId6"/>
    <p:sldId id="590" r:id="rId7"/>
    <p:sldId id="599" r:id="rId8"/>
    <p:sldId id="598" r:id="rId9"/>
    <p:sldId id="602" r:id="rId10"/>
    <p:sldId id="608" r:id="rId11"/>
    <p:sldId id="606" r:id="rId12"/>
    <p:sldId id="603" r:id="rId13"/>
    <p:sldId id="607" r:id="rId14"/>
    <p:sldId id="258" r:id="rId15"/>
  </p:sldIdLst>
  <p:sldSz cx="9144000" cy="5143500" type="screen16x9"/>
  <p:notesSz cx="6858000" cy="9144000"/>
  <p:embeddedFontLst>
    <p:embeddedFont>
      <p:font typeface="Arial Narrow" panose="020B0606020202030204" pitchFamily="34" charset="0"/>
      <p:regular r:id="rId17"/>
      <p:bold r:id="rId18"/>
      <p:italic r:id="rId19"/>
      <p:boldItalic r:id="rId20"/>
    </p:embeddedFont>
    <p:embeddedFont>
      <p:font typeface="Centennial LT Std 45 Light" panose="02040504060506020304" pitchFamily="18" charset="0"/>
      <p:regular r:id="rId21"/>
      <p:italic r:id="rId22"/>
    </p:embeddedFont>
    <p:embeddedFont>
      <p:font typeface="Century Gothic" panose="020B0502020202020204" pitchFamily="34" charset="0"/>
      <p:regular r:id="rId23"/>
      <p:bold r:id="rId24"/>
      <p:italic r:id="rId25"/>
      <p:boldItalic r:id="rId26"/>
    </p:embeddedFont>
    <p:embeddedFont>
      <p:font typeface="Economica" panose="020B0604020202020204" charset="0"/>
      <p:regular r:id="rId27"/>
      <p:bold r:id="rId28"/>
      <p:italic r:id="rId29"/>
      <p:boldItalic r:id="rId30"/>
    </p:embeddedFont>
    <p:embeddedFont>
      <p:font typeface="Roboto" panose="02000000000000000000" pitchFamily="2" charset="0"/>
      <p:regular r:id="rId31"/>
      <p:bold r:id="rId32"/>
      <p:italic r:id="rId33"/>
      <p:boldItalic r:id="rId34"/>
    </p:embeddedFont>
    <p:embeddedFont>
      <p:font typeface="Roboto Black" panose="02000000000000000000" pitchFamily="2" charset="0"/>
      <p:bold r:id="rId35"/>
      <p:italic r:id="rId36"/>
      <p:boldItalic r:id="rId37"/>
    </p:embeddedFont>
    <p:embeddedFont>
      <p:font typeface="Roboto Light" panose="02000000000000000000" pitchFamily="2" charset="0"/>
      <p:regular r:id="rId38"/>
      <p:bold r:id="rId39"/>
      <p:italic r:id="rId40"/>
      <p:boldItalic r:id="rId41"/>
    </p:embeddedFont>
    <p:embeddedFont>
      <p:font typeface="Roboto Thin" panose="02000000000000000000" pitchFamily="2" charset="0"/>
      <p:regular r:id="rId42"/>
      <p:bold r:id="rId43"/>
      <p:italic r:id="rId44"/>
      <p:boldItalic r:id="rId4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79B6"/>
    <a:srgbClr val="AC8BBF"/>
    <a:srgbClr val="940059"/>
    <a:srgbClr val="F9A686"/>
    <a:srgbClr val="9C135B"/>
    <a:srgbClr val="D6D4DB"/>
    <a:srgbClr val="E5E2E7"/>
    <a:srgbClr val="333333"/>
    <a:srgbClr val="EF7F78"/>
    <a:srgbClr val="5D00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94266E-DC43-4657-82F4-B782DE1676BC}" v="79" dt="2023-04-14T09:05:47.00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/>
    <p:restoredTop sz="84354"/>
  </p:normalViewPr>
  <p:slideViewPr>
    <p:cSldViewPr snapToGrid="0">
      <p:cViewPr varScale="1">
        <p:scale>
          <a:sx n="127" d="100"/>
          <a:sy n="127" d="100"/>
        </p:scale>
        <p:origin x="420" y="11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font" Target="fonts/font23.fntdata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font" Target="fonts/font26.fntdata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9" Type="http://schemas.openxmlformats.org/officeDocument/2006/relationships/font" Target="fonts/font13.fntdata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font" Target="fonts/font21.fntdata"/><Relationship Id="rId40" Type="http://schemas.openxmlformats.org/officeDocument/2006/relationships/font" Target="fonts/font24.fntdata"/><Relationship Id="rId45" Type="http://schemas.openxmlformats.org/officeDocument/2006/relationships/font" Target="fonts/font29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4" Type="http://schemas.openxmlformats.org/officeDocument/2006/relationships/font" Target="fonts/font2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43" Type="http://schemas.openxmlformats.org/officeDocument/2006/relationships/font" Target="fonts/font27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font" Target="fonts/font22.fntdata"/><Relationship Id="rId46" Type="http://schemas.openxmlformats.org/officeDocument/2006/relationships/presProps" Target="presProps.xml"/><Relationship Id="rId20" Type="http://schemas.openxmlformats.org/officeDocument/2006/relationships/font" Target="fonts/font4.fntdata"/><Relationship Id="rId41" Type="http://schemas.openxmlformats.org/officeDocument/2006/relationships/font" Target="fonts/font2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4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" name="Google Shape;5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1926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2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62066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15604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20e3ba23798_0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" name="Google Shape;66;g20e3ba23798_0_7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150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58879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00500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1B2BD6-44BD-B84D-B4A0-5E40BE4112F3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65593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8184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5643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46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BD1B2BD6-44BD-B84D-B4A0-5E40BE4112F3}" type="slidenum">
              <a:rPr kumimoji="0" lang="fr-FR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165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2744013" y="756700"/>
            <a:ext cx="1081625" cy="1124950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rgbClr val="B89B82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11" name="Google Shape;11;p2"/>
          <p:cNvSpPr/>
          <p:nvPr/>
        </p:nvSpPr>
        <p:spPr>
          <a:xfrm rot="10800000">
            <a:off x="5318350" y="3266725"/>
            <a:ext cx="1081625" cy="1124950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rgbClr val="B89B82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3044700" y="1444255"/>
            <a:ext cx="3054600" cy="153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3044700" y="3116580"/>
            <a:ext cx="3054600" cy="70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b="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Economica"/>
              <a:buNone/>
              <a:defRPr sz="2100"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  <a:lvl2pPr lvl="1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2pPr>
            <a:lvl3pPr lvl="2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3pPr>
            <a:lvl4pPr lvl="3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4pPr>
            <a:lvl5pPr lvl="4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5pPr>
            <a:lvl6pPr lvl="5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6pPr>
            <a:lvl7pPr lvl="6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7pPr>
            <a:lvl8pPr lvl="7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8pPr>
            <a:lvl9pPr lvl="8">
              <a:buNone/>
              <a:defRPr>
                <a:solidFill>
                  <a:srgbClr val="85200C"/>
                </a:solidFill>
                <a:latin typeface="Roboto Black"/>
                <a:ea typeface="Roboto Black"/>
                <a:cs typeface="Roboto Black"/>
                <a:sym typeface="Roboto Black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uoto" type="blank">
  <p:cSld name="BLANK">
    <p:bg>
      <p:bgPr>
        <a:solidFill>
          <a:schemeClr val="lt1"/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2BA52-EE5B-4AFF-B01E-902864D9A99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55389" y="230870"/>
            <a:ext cx="8353199" cy="2662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kumimoji="0" sz="2100" b="0" i="0" u="none" baseline="0">
                <a:solidFill>
                  <a:schemeClr val="bg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72828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56">
          <p15:clr>
            <a:srgbClr val="FBAE40"/>
          </p15:clr>
        </p15:guide>
        <p15:guide id="2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773700" y="1806450"/>
            <a:ext cx="7596600" cy="1530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311700" y="676500"/>
            <a:ext cx="8520600" cy="831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1"/>
          </p:nvPr>
        </p:nvSpPr>
        <p:spPr>
          <a:xfrm>
            <a:off x="311700" y="1585800"/>
            <a:ext cx="3999900" cy="26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2"/>
          </p:nvPr>
        </p:nvSpPr>
        <p:spPr>
          <a:xfrm>
            <a:off x="4832400" y="1585800"/>
            <a:ext cx="3999900" cy="26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 txBox="1">
            <a:spLocks noGrp="1"/>
          </p:cNvSpPr>
          <p:nvPr>
            <p:ph type="title"/>
          </p:nvPr>
        </p:nvSpPr>
        <p:spPr>
          <a:xfrm>
            <a:off x="311700" y="642500"/>
            <a:ext cx="8520600" cy="831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2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7806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1pPr>
            <a:lvl2pPr lvl="1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2pPr>
            <a:lvl3pPr lvl="2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3pPr>
            <a:lvl4pPr lvl="3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4pPr>
            <a:lvl5pPr lvl="4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5pPr>
            <a:lvl6pPr lvl="5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6pPr>
            <a:lvl7pPr lvl="6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7pPr>
            <a:lvl8pPr lvl="7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8pPr>
            <a:lvl9pPr lvl="8">
              <a:spcBef>
                <a:spcPts val="0"/>
              </a:spcBef>
              <a:spcAft>
                <a:spcPts val="0"/>
              </a:spcAft>
              <a:buSzPts val="2900"/>
              <a:buNone/>
              <a:defRPr sz="2900"/>
            </a:lvl9pPr>
          </a:lstStyle>
          <a:p>
            <a:endParaRPr/>
          </a:p>
        </p:txBody>
      </p:sp>
      <p:sp>
        <p:nvSpPr>
          <p:cNvPr id="32" name="Google Shape;32;p7"/>
          <p:cNvSpPr txBox="1">
            <a:spLocks noGrp="1"/>
          </p:cNvSpPr>
          <p:nvPr>
            <p:ph type="body" idx="1"/>
          </p:nvPr>
        </p:nvSpPr>
        <p:spPr>
          <a:xfrm>
            <a:off x="311700" y="1399400"/>
            <a:ext cx="3688800" cy="2784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5878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B89B82"/>
              </a:buClr>
              <a:buSzPts val="4800"/>
              <a:buNone/>
              <a:defRPr sz="4800">
                <a:solidFill>
                  <a:srgbClr val="B89B8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6" name="Google Shape;36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9"/>
          <p:cNvSpPr txBox="1">
            <a:spLocks noGrp="1"/>
          </p:cNvSpPr>
          <p:nvPr>
            <p:ph type="title"/>
          </p:nvPr>
        </p:nvSpPr>
        <p:spPr>
          <a:xfrm>
            <a:off x="265500" y="929275"/>
            <a:ext cx="4045200" cy="1786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B89B82"/>
              </a:buClr>
              <a:buSzPts val="3200"/>
              <a:buNone/>
              <a:defRPr>
                <a:solidFill>
                  <a:srgbClr val="B89B82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200"/>
              <a:buNone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57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Economica"/>
              <a:buNone/>
              <a:defRPr sz="2400"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endParaRPr/>
          </a:p>
        </p:txBody>
      </p:sp>
      <p:sp>
        <p:nvSpPr>
          <p:cNvPr id="40" name="Google Shape;40;p9"/>
          <p:cNvSpPr/>
          <p:nvPr/>
        </p:nvSpPr>
        <p:spPr>
          <a:xfrm>
            <a:off x="1074975" y="4653650"/>
            <a:ext cx="4116300" cy="319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  <p:sp>
        <p:nvSpPr>
          <p:cNvPr id="42" name="Google Shape;42;p9"/>
          <p:cNvSpPr/>
          <p:nvPr/>
        </p:nvSpPr>
        <p:spPr>
          <a:xfrm>
            <a:off x="4572000" y="-25"/>
            <a:ext cx="4572000" cy="5143500"/>
          </a:xfrm>
          <a:prstGeom prst="rect">
            <a:avLst/>
          </a:prstGeom>
          <a:solidFill>
            <a:srgbClr val="B89B8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Char char="●"/>
              <a:defRPr>
                <a:solidFill>
                  <a:schemeClr val="lt1"/>
                </a:solidFill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●"/>
              <a:defRPr>
                <a:solidFill>
                  <a:schemeClr val="lt1"/>
                </a:solidFill>
              </a:defRPr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○"/>
              <a:defRPr>
                <a:solidFill>
                  <a:schemeClr val="lt1"/>
                </a:solidFill>
              </a:defRPr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0"/>
          <p:cNvSpPr txBox="1">
            <a:spLocks noGrp="1"/>
          </p:cNvSpPr>
          <p:nvPr>
            <p:ph type="body" idx="1"/>
          </p:nvPr>
        </p:nvSpPr>
        <p:spPr>
          <a:xfrm>
            <a:off x="319500" y="3490925"/>
            <a:ext cx="5998800" cy="59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</a:lstStyle>
          <a:p>
            <a:endParaRPr/>
          </a:p>
        </p:txBody>
      </p:sp>
      <p:sp>
        <p:nvSpPr>
          <p:cNvPr id="46" name="Google Shape;46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1"/>
          <p:cNvSpPr txBox="1">
            <a:spLocks noGrp="1"/>
          </p:cNvSpPr>
          <p:nvPr>
            <p:ph type="title" hasCustomPrompt="1"/>
          </p:nvPr>
        </p:nvSpPr>
        <p:spPr>
          <a:xfrm>
            <a:off x="311700" y="957125"/>
            <a:ext cx="8520600" cy="212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B89B82"/>
              </a:buClr>
              <a:buSzPts val="16000"/>
              <a:buFont typeface="Roboto Thin"/>
              <a:buNone/>
              <a:defRPr sz="16000">
                <a:solidFill>
                  <a:srgbClr val="B89B82"/>
                </a:solidFill>
                <a:latin typeface="Roboto Thin"/>
                <a:ea typeface="Roboto Thin"/>
                <a:cs typeface="Roboto Thin"/>
                <a:sym typeface="Roboto Thin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0"/>
              <a:buNone/>
              <a:defRPr sz="16000">
                <a:solidFill>
                  <a:schemeClr val="lt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9" name="Google Shape;49;p11"/>
          <p:cNvSpPr txBox="1">
            <a:spLocks noGrp="1"/>
          </p:cNvSpPr>
          <p:nvPr>
            <p:ph type="body" idx="1"/>
          </p:nvPr>
        </p:nvSpPr>
        <p:spPr>
          <a:xfrm>
            <a:off x="311700" y="3162000"/>
            <a:ext cx="8520600" cy="107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"/>
              <a:t>‹N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luxe">
    <p:bg>
      <p:bgPr>
        <a:blipFill>
          <a:blip r:embed="rId13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microsoft.com/office/2007/relationships/hdphoto" Target="../media/hdphoto1.wdp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4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.emf"/><Relationship Id="rId12" Type="http://schemas.openxmlformats.org/officeDocument/2006/relationships/image" Target="../media/image43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42.png"/><Relationship Id="rId5" Type="http://schemas.openxmlformats.org/officeDocument/2006/relationships/image" Target="../media/image39.png"/><Relationship Id="rId10" Type="http://schemas.openxmlformats.org/officeDocument/2006/relationships/image" Target="../media/image41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.emf"/><Relationship Id="rId12" Type="http://schemas.openxmlformats.org/officeDocument/2006/relationships/image" Target="../media/image49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48.svg"/><Relationship Id="rId5" Type="http://schemas.openxmlformats.org/officeDocument/2006/relationships/image" Target="../media/image45.png"/><Relationship Id="rId10" Type="http://schemas.openxmlformats.org/officeDocument/2006/relationships/image" Target="../media/image4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Google Shape;57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9143997" cy="51434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624" imgH="623" progId="TCLayout.ActiveDocument.1">
                  <p:embed/>
                </p:oleObj>
              </mc:Choice>
              <mc:Fallback>
                <p:oleObj name="Diapositive think-cell" r:id="rId5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2784675" cy="61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2- </a:t>
            </a:r>
            <a:r>
              <a:rPr kumimoji="0" lang="it-IT" sz="2400" b="1" u="none" strike="noStrike" kern="0" cap="none" spc="0" normalizeH="0" baseline="0" noProof="0" dirty="0" err="1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iDay</a:t>
            </a:r>
            <a:b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Century Gothic" panose="020B0502020202020204" pitchFamily="34" charset="0"/>
                <a:ea typeface="Roboto Light"/>
                <a:cs typeface="Roboto Light"/>
                <a:sym typeface="Roboto Light"/>
              </a:rPr>
            </a:b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EF7F78"/>
                </a:solidFill>
                <a:uLnTx/>
                <a:uFillTx/>
                <a:latin typeface="Avenir Heavy" panose="02000503020000020003" pitchFamily="2" charset="0"/>
                <a:cs typeface="Times New Roman" panose="02020603050405020304" pitchFamily="18" charset="0"/>
                <a:sym typeface="Roboto Light"/>
              </a:rPr>
              <a:t>COME FUNZIONANO</a:t>
            </a:r>
            <a:endParaRPr kumimoji="0" lang="it-IT" sz="1600" b="1" u="none" strike="noStrike" kern="0" cap="none" spc="0" normalizeH="0" baseline="0" noProof="0" dirty="0">
              <a:ln>
                <a:noFill/>
              </a:ln>
              <a:solidFill>
                <a:srgbClr val="EF7F78"/>
              </a:solidFill>
              <a:effectLst/>
              <a:uLnTx/>
              <a:uFillTx/>
              <a:latin typeface="Avenir Heavy" panose="02000503020000020003" pitchFamily="2" charset="0"/>
              <a:sym typeface="Roboto Light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09BF0F-CF05-F1EC-5E4B-671C1074F6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1509" y="4620613"/>
            <a:ext cx="1380565" cy="339748"/>
          </a:xfrm>
          <a:prstGeom prst="rect">
            <a:avLst/>
          </a:prstGeom>
        </p:spPr>
      </p:pic>
      <p:cxnSp>
        <p:nvCxnSpPr>
          <p:cNvPr id="21" name="Connettore 1 20">
            <a:extLst>
              <a:ext uri="{FF2B5EF4-FFF2-40B4-BE49-F238E27FC236}">
                <a16:creationId xmlns:a16="http://schemas.microsoft.com/office/drawing/2014/main" id="{87F1BBA3-FADC-7389-5BB8-F61B83091DDD}"/>
              </a:ext>
            </a:extLst>
          </p:cNvPr>
          <p:cNvCxnSpPr/>
          <p:nvPr/>
        </p:nvCxnSpPr>
        <p:spPr>
          <a:xfrm>
            <a:off x="3445161" y="1229782"/>
            <a:ext cx="0" cy="2861927"/>
          </a:xfrm>
          <a:prstGeom prst="line">
            <a:avLst/>
          </a:prstGeom>
          <a:ln>
            <a:solidFill>
              <a:srgbClr val="EF7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>
            <a:extLst>
              <a:ext uri="{FF2B5EF4-FFF2-40B4-BE49-F238E27FC236}">
                <a16:creationId xmlns:a16="http://schemas.microsoft.com/office/drawing/2014/main" id="{A90A82FE-8A31-BE98-C812-D2AE2B2E2DF2}"/>
              </a:ext>
            </a:extLst>
          </p:cNvPr>
          <p:cNvCxnSpPr/>
          <p:nvPr/>
        </p:nvCxnSpPr>
        <p:spPr>
          <a:xfrm>
            <a:off x="6271490" y="1208941"/>
            <a:ext cx="0" cy="2861927"/>
          </a:xfrm>
          <a:prstGeom prst="line">
            <a:avLst/>
          </a:prstGeom>
          <a:ln>
            <a:solidFill>
              <a:srgbClr val="EF7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uppo 58">
            <a:extLst>
              <a:ext uri="{FF2B5EF4-FFF2-40B4-BE49-F238E27FC236}">
                <a16:creationId xmlns:a16="http://schemas.microsoft.com/office/drawing/2014/main" id="{DC0195BD-6D6F-ECB0-0D4D-87EAD8CDB2B1}"/>
              </a:ext>
            </a:extLst>
          </p:cNvPr>
          <p:cNvGrpSpPr/>
          <p:nvPr/>
        </p:nvGrpSpPr>
        <p:grpSpPr>
          <a:xfrm>
            <a:off x="645417" y="1254401"/>
            <a:ext cx="2471805" cy="2831711"/>
            <a:chOff x="416908" y="1254401"/>
            <a:chExt cx="2471805" cy="2831711"/>
          </a:xfrm>
        </p:grpSpPr>
        <p:sp>
          <p:nvSpPr>
            <p:cNvPr id="41" name="Ovale 40">
              <a:extLst>
                <a:ext uri="{FF2B5EF4-FFF2-40B4-BE49-F238E27FC236}">
                  <a16:creationId xmlns:a16="http://schemas.microsoft.com/office/drawing/2014/main" id="{C82CF306-C34E-8BB9-BF87-418A36F859B0}"/>
                </a:ext>
              </a:extLst>
            </p:cNvPr>
            <p:cNvSpPr/>
            <p:nvPr/>
          </p:nvSpPr>
          <p:spPr>
            <a:xfrm>
              <a:off x="1338922" y="1708451"/>
              <a:ext cx="627775" cy="627775"/>
            </a:xfrm>
            <a:prstGeom prst="ellipse">
              <a:avLst/>
            </a:prstGeom>
            <a:solidFill>
              <a:srgbClr val="EF7F78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rgbClr val="9C135B"/>
                </a:solidFill>
              </a:endParaRPr>
            </a:p>
          </p:txBody>
        </p:sp>
        <p:grpSp>
          <p:nvGrpSpPr>
            <p:cNvPr id="40" name="Gruppo 39">
              <a:extLst>
                <a:ext uri="{FF2B5EF4-FFF2-40B4-BE49-F238E27FC236}">
                  <a16:creationId xmlns:a16="http://schemas.microsoft.com/office/drawing/2014/main" id="{037AF7D5-A65B-3DB9-C351-1C1F7FA13979}"/>
                </a:ext>
              </a:extLst>
            </p:cNvPr>
            <p:cNvGrpSpPr/>
            <p:nvPr/>
          </p:nvGrpSpPr>
          <p:grpSpPr>
            <a:xfrm>
              <a:off x="416908" y="1254401"/>
              <a:ext cx="2471805" cy="2831711"/>
              <a:chOff x="519670" y="1254401"/>
              <a:chExt cx="2471805" cy="2831711"/>
            </a:xfrm>
          </p:grpSpPr>
          <p:sp>
            <p:nvSpPr>
              <p:cNvPr id="2" name="object 3">
                <a:extLst>
                  <a:ext uri="{FF2B5EF4-FFF2-40B4-BE49-F238E27FC236}">
                    <a16:creationId xmlns:a16="http://schemas.microsoft.com/office/drawing/2014/main" id="{2EEF2F15-EC89-E8CC-C9E6-53E1046B3604}"/>
                  </a:ext>
                </a:extLst>
              </p:cNvPr>
              <p:cNvSpPr txBox="1"/>
              <p:nvPr/>
            </p:nvSpPr>
            <p:spPr>
              <a:xfrm>
                <a:off x="519670" y="2646028"/>
                <a:ext cx="2471805" cy="702756"/>
              </a:xfrm>
              <a:prstGeom prst="rect">
                <a:avLst/>
              </a:prstGeom>
            </p:spPr>
            <p:txBody>
              <a:bodyPr vert="horz" wrap="square" lIns="0" tIns="55880" rIns="0" bIns="0" rtlCol="0">
                <a:spAutoFit/>
              </a:bodyPr>
              <a:lstStyle/>
              <a:p>
                <a:pPr algn="ctr"/>
                <a:r>
                  <a:rPr lang="it-IT" b="1" dirty="0">
                    <a:solidFill>
                      <a:srgbClr val="EF7F78"/>
                    </a:solidFill>
                    <a:latin typeface="Avenir Heavy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T</a:t>
                </a:r>
                <a:r>
                  <a:rPr lang="it-IT" b="1" dirty="0">
                    <a:solidFill>
                      <a:srgbClr val="EF7F78"/>
                    </a:solidFill>
                    <a:effectLst/>
                    <a:latin typeface="Avenir Heavy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matiche specifiche sulle quali chiediamo </a:t>
                </a:r>
              </a:p>
              <a:p>
                <a:pPr algn="ctr"/>
                <a:r>
                  <a:rPr lang="it-IT" b="1" dirty="0">
                    <a:solidFill>
                      <a:srgbClr val="EF7F78"/>
                    </a:solidFill>
                    <a:effectLst/>
                    <a:latin typeface="Avenir Heavy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ai dipendenti di esprimersi.</a:t>
                </a:r>
              </a:p>
            </p:txBody>
          </p:sp>
          <p:sp>
            <p:nvSpPr>
              <p:cNvPr id="32" name="object 18">
                <a:extLst>
                  <a:ext uri="{FF2B5EF4-FFF2-40B4-BE49-F238E27FC236}">
                    <a16:creationId xmlns:a16="http://schemas.microsoft.com/office/drawing/2014/main" id="{4A064E37-8B9B-F021-2786-BFB97065053B}"/>
                  </a:ext>
                </a:extLst>
              </p:cNvPr>
              <p:cNvSpPr txBox="1"/>
              <p:nvPr/>
            </p:nvSpPr>
            <p:spPr>
              <a:xfrm>
                <a:off x="1073980" y="1254401"/>
                <a:ext cx="1363185" cy="221856"/>
              </a:xfrm>
              <a:prstGeom prst="rect">
                <a:avLst/>
              </a:prstGeom>
            </p:spPr>
            <p:txBody>
              <a:bodyPr vert="horz" wrap="square" lIns="0" tIns="6350" rIns="0" bIns="0" rtlCol="0">
                <a:spAutoFit/>
              </a:bodyPr>
              <a:lstStyle/>
              <a:p>
                <a:pPr marL="635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5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lang="it-IT" b="1" kern="1200" dirty="0">
                    <a:solidFill>
                      <a:srgbClr val="9C135B"/>
                    </a:solidFill>
                    <a:latin typeface="Avenir Heavy" panose="02000503020000020003" pitchFamily="2" charset="0"/>
                    <a:ea typeface="+mn-ea"/>
                    <a:cs typeface="+mn-cs"/>
                  </a:rPr>
                  <a:t>CATEGORIE</a:t>
                </a:r>
                <a:endParaRPr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8" name="CasellaDiTesto 37">
                <a:extLst>
                  <a:ext uri="{FF2B5EF4-FFF2-40B4-BE49-F238E27FC236}">
                    <a16:creationId xmlns:a16="http://schemas.microsoft.com/office/drawing/2014/main" id="{9811DC0B-06A9-5C70-90F0-BF47D1C5C05E}"/>
                  </a:ext>
                </a:extLst>
              </p:cNvPr>
              <p:cNvSpPr txBox="1"/>
              <p:nvPr/>
            </p:nvSpPr>
            <p:spPr>
              <a:xfrm>
                <a:off x="664598" y="3439781"/>
                <a:ext cx="2181949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it-IT" sz="900" dirty="0">
                    <a:solidFill>
                      <a:schemeClr val="tx1"/>
                    </a:solidFill>
                    <a:effectLst/>
                    <a:latin typeface="Avenir Book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icurezza</a:t>
                </a:r>
              </a:p>
              <a:p>
                <a:pPr algn="ctr"/>
                <a:r>
                  <a:rPr lang="it-IT" sz="900" dirty="0">
                    <a:solidFill>
                      <a:schemeClr val="tx1"/>
                    </a:solidFill>
                    <a:effectLst/>
                    <a:latin typeface="Avenir Book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ustomer Experience</a:t>
                </a:r>
              </a:p>
              <a:p>
                <a:pPr algn="ctr"/>
                <a:r>
                  <a:rPr lang="it-IT" sz="900" dirty="0">
                    <a:solidFill>
                      <a:schemeClr val="tx1"/>
                    </a:solidFill>
                    <a:effectLst/>
                    <a:latin typeface="Avenir Book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Ambiente</a:t>
                </a:r>
              </a:p>
              <a:p>
                <a:pPr algn="ctr"/>
                <a:r>
                  <a:rPr lang="it-IT" sz="900" dirty="0">
                    <a:solidFill>
                      <a:schemeClr val="tx1"/>
                    </a:solidFill>
                    <a:latin typeface="Avenir Book" panose="02000503020000020003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…</a:t>
                </a:r>
                <a:endParaRPr lang="it-IT" sz="900" dirty="0">
                  <a:solidFill>
                    <a:schemeClr val="tx1"/>
                  </a:solidFill>
                  <a:effectLst/>
                  <a:latin typeface="Avenir Book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" name="object 30">
                <a:extLst>
                  <a:ext uri="{FF2B5EF4-FFF2-40B4-BE49-F238E27FC236}">
                    <a16:creationId xmlns:a16="http://schemas.microsoft.com/office/drawing/2014/main" id="{B193315A-34E1-AE3A-6E8F-E1AAA8F77EE5}"/>
                  </a:ext>
                </a:extLst>
              </p:cNvPr>
              <p:cNvSpPr/>
              <p:nvPr/>
            </p:nvSpPr>
            <p:spPr>
              <a:xfrm>
                <a:off x="1613967" y="1912610"/>
                <a:ext cx="283210" cy="257810"/>
              </a:xfrm>
              <a:custGeom>
                <a:avLst/>
                <a:gdLst/>
                <a:ahLst/>
                <a:cxnLst/>
                <a:rect l="l" t="t" r="r" b="b"/>
                <a:pathLst>
                  <a:path w="566419" h="515619">
                    <a:moveTo>
                      <a:pt x="283080" y="445673"/>
                    </a:moveTo>
                    <a:lnTo>
                      <a:pt x="240340" y="443156"/>
                    </a:lnTo>
                    <a:lnTo>
                      <a:pt x="199576" y="435842"/>
                    </a:lnTo>
                    <a:lnTo>
                      <a:pt x="161253" y="424082"/>
                    </a:lnTo>
                    <a:lnTo>
                      <a:pt x="125836" y="408231"/>
                    </a:lnTo>
                    <a:lnTo>
                      <a:pt x="65573" y="365583"/>
                    </a:lnTo>
                    <a:lnTo>
                      <a:pt x="22710" y="310540"/>
                    </a:lnTo>
                    <a:lnTo>
                      <a:pt x="5887" y="268325"/>
                    </a:lnTo>
                    <a:lnTo>
                      <a:pt x="0" y="222836"/>
                    </a:lnTo>
                    <a:lnTo>
                      <a:pt x="1495" y="199757"/>
                    </a:lnTo>
                    <a:lnTo>
                      <a:pt x="13013" y="155767"/>
                    </a:lnTo>
                    <a:lnTo>
                      <a:pt x="34814" y="115577"/>
                    </a:lnTo>
                    <a:lnTo>
                      <a:pt x="65579" y="80097"/>
                    </a:lnTo>
                    <a:lnTo>
                      <a:pt x="125854" y="37441"/>
                    </a:lnTo>
                    <a:lnTo>
                      <a:pt x="173725" y="17202"/>
                    </a:lnTo>
                    <a:lnTo>
                      <a:pt x="226511" y="4445"/>
                    </a:lnTo>
                    <a:lnTo>
                      <a:pt x="283080" y="0"/>
                    </a:lnTo>
                    <a:lnTo>
                      <a:pt x="325820" y="2520"/>
                    </a:lnTo>
                    <a:lnTo>
                      <a:pt x="366584" y="9834"/>
                    </a:lnTo>
                    <a:lnTo>
                      <a:pt x="404907" y="21592"/>
                    </a:lnTo>
                    <a:lnTo>
                      <a:pt x="405664" y="21930"/>
                    </a:lnTo>
                    <a:lnTo>
                      <a:pt x="283080" y="21930"/>
                    </a:lnTo>
                    <a:lnTo>
                      <a:pt x="242933" y="24298"/>
                    </a:lnTo>
                    <a:lnTo>
                      <a:pt x="204740" y="31156"/>
                    </a:lnTo>
                    <a:lnTo>
                      <a:pt x="136044" y="56860"/>
                    </a:lnTo>
                    <a:lnTo>
                      <a:pt x="80623" y="96051"/>
                    </a:lnTo>
                    <a:lnTo>
                      <a:pt x="41985" y="145600"/>
                    </a:lnTo>
                    <a:lnTo>
                      <a:pt x="27098" y="182925"/>
                    </a:lnTo>
                    <a:lnTo>
                      <a:pt x="21930" y="222836"/>
                    </a:lnTo>
                    <a:lnTo>
                      <a:pt x="23244" y="243077"/>
                    </a:lnTo>
                    <a:lnTo>
                      <a:pt x="33382" y="281772"/>
                    </a:lnTo>
                    <a:lnTo>
                      <a:pt x="52801" y="317548"/>
                    </a:lnTo>
                    <a:lnTo>
                      <a:pt x="80628" y="349621"/>
                    </a:lnTo>
                    <a:lnTo>
                      <a:pt x="136043" y="388814"/>
                    </a:lnTo>
                    <a:lnTo>
                      <a:pt x="180591" y="407638"/>
                    </a:lnTo>
                    <a:lnTo>
                      <a:pt x="229966" y="419576"/>
                    </a:lnTo>
                    <a:lnTo>
                      <a:pt x="283080" y="423742"/>
                    </a:lnTo>
                    <a:lnTo>
                      <a:pt x="320368" y="423742"/>
                    </a:lnTo>
                    <a:lnTo>
                      <a:pt x="320582" y="423842"/>
                    </a:lnTo>
                    <a:lnTo>
                      <a:pt x="322835" y="427032"/>
                    </a:lnTo>
                    <a:lnTo>
                      <a:pt x="327859" y="433352"/>
                    </a:lnTo>
                    <a:lnTo>
                      <a:pt x="313863" y="433352"/>
                    </a:lnTo>
                    <a:lnTo>
                      <a:pt x="304911" y="439672"/>
                    </a:lnTo>
                    <a:lnTo>
                      <a:pt x="308939" y="444731"/>
                    </a:lnTo>
                    <a:lnTo>
                      <a:pt x="306981" y="444883"/>
                    </a:lnTo>
                    <a:lnTo>
                      <a:pt x="299077" y="445319"/>
                    </a:lnTo>
                    <a:lnTo>
                      <a:pt x="291110" y="445584"/>
                    </a:lnTo>
                    <a:lnTo>
                      <a:pt x="283080" y="445673"/>
                    </a:lnTo>
                    <a:close/>
                  </a:path>
                  <a:path w="566419" h="515619">
                    <a:moveTo>
                      <a:pt x="566167" y="222836"/>
                    </a:moveTo>
                    <a:lnTo>
                      <a:pt x="544236" y="222836"/>
                    </a:lnTo>
                    <a:lnTo>
                      <a:pt x="542925" y="202595"/>
                    </a:lnTo>
                    <a:lnTo>
                      <a:pt x="539067" y="182925"/>
                    </a:lnTo>
                    <a:lnTo>
                      <a:pt x="524179" y="145600"/>
                    </a:lnTo>
                    <a:lnTo>
                      <a:pt x="500444" y="111570"/>
                    </a:lnTo>
                    <a:lnTo>
                      <a:pt x="468754" y="81682"/>
                    </a:lnTo>
                    <a:lnTo>
                      <a:pt x="430118" y="56859"/>
                    </a:lnTo>
                    <a:lnTo>
                      <a:pt x="385569" y="38036"/>
                    </a:lnTo>
                    <a:lnTo>
                      <a:pt x="336195" y="26098"/>
                    </a:lnTo>
                    <a:lnTo>
                      <a:pt x="283080" y="21930"/>
                    </a:lnTo>
                    <a:lnTo>
                      <a:pt x="405664" y="21930"/>
                    </a:lnTo>
                    <a:lnTo>
                      <a:pt x="472378" y="57057"/>
                    </a:lnTo>
                    <a:lnTo>
                      <a:pt x="524448" y="106232"/>
                    </a:lnTo>
                    <a:lnTo>
                      <a:pt x="553147" y="155767"/>
                    </a:lnTo>
                    <a:lnTo>
                      <a:pt x="564665" y="199757"/>
                    </a:lnTo>
                    <a:lnTo>
                      <a:pt x="566167" y="222836"/>
                    </a:lnTo>
                    <a:close/>
                  </a:path>
                  <a:path w="566419" h="515619">
                    <a:moveTo>
                      <a:pt x="448298" y="494977"/>
                    </a:moveTo>
                    <a:lnTo>
                      <a:pt x="442776" y="494977"/>
                    </a:lnTo>
                    <a:lnTo>
                      <a:pt x="443215" y="492665"/>
                    </a:lnTo>
                    <a:lnTo>
                      <a:pt x="439241" y="491817"/>
                    </a:lnTo>
                    <a:lnTo>
                      <a:pt x="401674" y="480326"/>
                    </a:lnTo>
                    <a:lnTo>
                      <a:pt x="383149" y="439652"/>
                    </a:lnTo>
                    <a:lnTo>
                      <a:pt x="378679" y="413774"/>
                    </a:lnTo>
                    <a:lnTo>
                      <a:pt x="381789" y="408909"/>
                    </a:lnTo>
                    <a:lnTo>
                      <a:pt x="386673" y="407274"/>
                    </a:lnTo>
                    <a:lnTo>
                      <a:pt x="412238" y="397428"/>
                    </a:lnTo>
                    <a:lnTo>
                      <a:pt x="458021" y="371898"/>
                    </a:lnTo>
                    <a:lnTo>
                      <a:pt x="495446" y="339659"/>
                    </a:lnTo>
                    <a:lnTo>
                      <a:pt x="523108" y="302015"/>
                    </a:lnTo>
                    <a:lnTo>
                      <a:pt x="541328" y="252881"/>
                    </a:lnTo>
                    <a:lnTo>
                      <a:pt x="544236" y="222836"/>
                    </a:lnTo>
                    <a:lnTo>
                      <a:pt x="566167" y="222836"/>
                    </a:lnTo>
                    <a:lnTo>
                      <a:pt x="558799" y="273616"/>
                    </a:lnTo>
                    <a:lnTo>
                      <a:pt x="537906" y="320119"/>
                    </a:lnTo>
                    <a:lnTo>
                      <a:pt x="492174" y="373154"/>
                    </a:lnTo>
                    <a:lnTo>
                      <a:pt x="429822" y="413484"/>
                    </a:lnTo>
                    <a:lnTo>
                      <a:pt x="422520" y="416425"/>
                    </a:lnTo>
                    <a:lnTo>
                      <a:pt x="401048" y="416425"/>
                    </a:lnTo>
                    <a:lnTo>
                      <a:pt x="390142" y="417681"/>
                    </a:lnTo>
                    <a:lnTo>
                      <a:pt x="393611" y="428069"/>
                    </a:lnTo>
                    <a:lnTo>
                      <a:pt x="402962" y="428069"/>
                    </a:lnTo>
                    <a:lnTo>
                      <a:pt x="403189" y="429250"/>
                    </a:lnTo>
                    <a:lnTo>
                      <a:pt x="419690" y="467934"/>
                    </a:lnTo>
                    <a:lnTo>
                      <a:pt x="447083" y="494200"/>
                    </a:lnTo>
                    <a:lnTo>
                      <a:pt x="448298" y="494977"/>
                    </a:lnTo>
                    <a:close/>
                  </a:path>
                  <a:path w="566419" h="515619">
                    <a:moveTo>
                      <a:pt x="393611" y="428069"/>
                    </a:moveTo>
                    <a:lnTo>
                      <a:pt x="390142" y="417681"/>
                    </a:lnTo>
                    <a:lnTo>
                      <a:pt x="401048" y="416425"/>
                    </a:lnTo>
                    <a:lnTo>
                      <a:pt x="401889" y="422492"/>
                    </a:lnTo>
                    <a:lnTo>
                      <a:pt x="402290" y="424573"/>
                    </a:lnTo>
                    <a:lnTo>
                      <a:pt x="393611" y="428069"/>
                    </a:lnTo>
                    <a:close/>
                  </a:path>
                  <a:path w="566419" h="515619">
                    <a:moveTo>
                      <a:pt x="402290" y="424573"/>
                    </a:moveTo>
                    <a:lnTo>
                      <a:pt x="401889" y="422492"/>
                    </a:lnTo>
                    <a:lnTo>
                      <a:pt x="401048" y="416425"/>
                    </a:lnTo>
                    <a:lnTo>
                      <a:pt x="422520" y="416425"/>
                    </a:lnTo>
                    <a:lnTo>
                      <a:pt x="402290" y="424573"/>
                    </a:lnTo>
                    <a:close/>
                  </a:path>
                  <a:path w="566419" h="515619">
                    <a:moveTo>
                      <a:pt x="320368" y="423742"/>
                    </a:moveTo>
                    <a:lnTo>
                      <a:pt x="283080" y="423742"/>
                    </a:lnTo>
                    <a:lnTo>
                      <a:pt x="290620" y="423657"/>
                    </a:lnTo>
                    <a:lnTo>
                      <a:pt x="298105" y="423406"/>
                    </a:lnTo>
                    <a:lnTo>
                      <a:pt x="305535" y="422994"/>
                    </a:lnTo>
                    <a:lnTo>
                      <a:pt x="316814" y="422087"/>
                    </a:lnTo>
                    <a:lnTo>
                      <a:pt x="320368" y="423742"/>
                    </a:lnTo>
                    <a:close/>
                  </a:path>
                  <a:path w="566419" h="515619">
                    <a:moveTo>
                      <a:pt x="402962" y="428069"/>
                    </a:moveTo>
                    <a:lnTo>
                      <a:pt x="393611" y="428069"/>
                    </a:lnTo>
                    <a:lnTo>
                      <a:pt x="402290" y="424573"/>
                    </a:lnTo>
                    <a:lnTo>
                      <a:pt x="402962" y="428069"/>
                    </a:lnTo>
                    <a:close/>
                  </a:path>
                  <a:path w="566419" h="515619">
                    <a:moveTo>
                      <a:pt x="308939" y="444731"/>
                    </a:moveTo>
                    <a:lnTo>
                      <a:pt x="304911" y="439672"/>
                    </a:lnTo>
                    <a:lnTo>
                      <a:pt x="313863" y="433352"/>
                    </a:lnTo>
                    <a:lnTo>
                      <a:pt x="314820" y="444278"/>
                    </a:lnTo>
                    <a:lnTo>
                      <a:pt x="308939" y="444731"/>
                    </a:lnTo>
                    <a:close/>
                  </a:path>
                  <a:path w="566419" h="515619">
                    <a:moveTo>
                      <a:pt x="444311" y="515194"/>
                    </a:moveTo>
                    <a:lnTo>
                      <a:pt x="407388" y="505724"/>
                    </a:lnTo>
                    <a:lnTo>
                      <a:pt x="360099" y="485770"/>
                    </a:lnTo>
                    <a:lnTo>
                      <a:pt x="322678" y="459704"/>
                    </a:lnTo>
                    <a:lnTo>
                      <a:pt x="308939" y="444731"/>
                    </a:lnTo>
                    <a:lnTo>
                      <a:pt x="314820" y="444278"/>
                    </a:lnTo>
                    <a:lnTo>
                      <a:pt x="313863" y="433352"/>
                    </a:lnTo>
                    <a:lnTo>
                      <a:pt x="327859" y="433352"/>
                    </a:lnTo>
                    <a:lnTo>
                      <a:pt x="329597" y="435539"/>
                    </a:lnTo>
                    <a:lnTo>
                      <a:pt x="337386" y="443440"/>
                    </a:lnTo>
                    <a:lnTo>
                      <a:pt x="375092" y="468872"/>
                    </a:lnTo>
                    <a:lnTo>
                      <a:pt x="401674" y="480326"/>
                    </a:lnTo>
                    <a:lnTo>
                      <a:pt x="403947" y="483607"/>
                    </a:lnTo>
                    <a:lnTo>
                      <a:pt x="435280" y="512702"/>
                    </a:lnTo>
                    <a:lnTo>
                      <a:pt x="448854" y="512702"/>
                    </a:lnTo>
                    <a:lnTo>
                      <a:pt x="444311" y="515194"/>
                    </a:lnTo>
                    <a:close/>
                  </a:path>
                  <a:path w="566419" h="515619">
                    <a:moveTo>
                      <a:pt x="435280" y="512702"/>
                    </a:moveTo>
                    <a:lnTo>
                      <a:pt x="403947" y="483607"/>
                    </a:lnTo>
                    <a:lnTo>
                      <a:pt x="401674" y="480326"/>
                    </a:lnTo>
                    <a:lnTo>
                      <a:pt x="413499" y="484635"/>
                    </a:lnTo>
                    <a:lnTo>
                      <a:pt x="428783" y="489206"/>
                    </a:lnTo>
                    <a:lnTo>
                      <a:pt x="439241" y="491817"/>
                    </a:lnTo>
                    <a:lnTo>
                      <a:pt x="443215" y="492665"/>
                    </a:lnTo>
                    <a:lnTo>
                      <a:pt x="441161" y="503451"/>
                    </a:lnTo>
                    <a:lnTo>
                      <a:pt x="435280" y="512702"/>
                    </a:lnTo>
                    <a:close/>
                  </a:path>
                  <a:path w="566419" h="515619">
                    <a:moveTo>
                      <a:pt x="448854" y="512702"/>
                    </a:moveTo>
                    <a:lnTo>
                      <a:pt x="435280" y="512702"/>
                    </a:lnTo>
                    <a:lnTo>
                      <a:pt x="441161" y="503451"/>
                    </a:lnTo>
                    <a:lnTo>
                      <a:pt x="443195" y="492665"/>
                    </a:lnTo>
                    <a:lnTo>
                      <a:pt x="442776" y="494977"/>
                    </a:lnTo>
                    <a:lnTo>
                      <a:pt x="448298" y="494977"/>
                    </a:lnTo>
                    <a:lnTo>
                      <a:pt x="451509" y="497031"/>
                    </a:lnTo>
                    <a:lnTo>
                      <a:pt x="453303" y="502594"/>
                    </a:lnTo>
                    <a:lnTo>
                      <a:pt x="449435" y="512383"/>
                    </a:lnTo>
                    <a:lnTo>
                      <a:pt x="448854" y="512702"/>
                    </a:lnTo>
                    <a:close/>
                  </a:path>
                  <a:path w="566419" h="515619">
                    <a:moveTo>
                      <a:pt x="442776" y="494977"/>
                    </a:moveTo>
                    <a:lnTo>
                      <a:pt x="443195" y="492665"/>
                    </a:lnTo>
                    <a:lnTo>
                      <a:pt x="442776" y="494977"/>
                    </a:lnTo>
                    <a:close/>
                  </a:path>
                </a:pathLst>
              </a:custGeom>
              <a:solidFill>
                <a:srgbClr val="231F1F"/>
              </a:solidFill>
              <a:ln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8" name="Gruppo 57">
            <a:extLst>
              <a:ext uri="{FF2B5EF4-FFF2-40B4-BE49-F238E27FC236}">
                <a16:creationId xmlns:a16="http://schemas.microsoft.com/office/drawing/2014/main" id="{C0B774FD-B9EC-1BF6-1B69-6D24F6B696A3}"/>
              </a:ext>
            </a:extLst>
          </p:cNvPr>
          <p:cNvGrpSpPr/>
          <p:nvPr/>
        </p:nvGrpSpPr>
        <p:grpSpPr>
          <a:xfrm>
            <a:off x="3611418" y="1235379"/>
            <a:ext cx="2471805" cy="2377403"/>
            <a:chOff x="3479260" y="1235379"/>
            <a:chExt cx="2471805" cy="2281837"/>
          </a:xfrm>
        </p:grpSpPr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01D6D6FE-B17D-5037-D7B0-45EC24631B4D}"/>
                </a:ext>
              </a:extLst>
            </p:cNvPr>
            <p:cNvSpPr/>
            <p:nvPr/>
          </p:nvSpPr>
          <p:spPr>
            <a:xfrm>
              <a:off x="4343230" y="1711814"/>
              <a:ext cx="627775" cy="627775"/>
            </a:xfrm>
            <a:prstGeom prst="ellipse">
              <a:avLst/>
            </a:prstGeom>
            <a:solidFill>
              <a:srgbClr val="EF7F78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rgbClr val="9C135B"/>
                </a:solidFill>
              </a:endParaRPr>
            </a:p>
          </p:txBody>
        </p:sp>
        <p:sp>
          <p:nvSpPr>
            <p:cNvPr id="33" name="object 19">
              <a:extLst>
                <a:ext uri="{FF2B5EF4-FFF2-40B4-BE49-F238E27FC236}">
                  <a16:creationId xmlns:a16="http://schemas.microsoft.com/office/drawing/2014/main" id="{2234A83C-E557-A632-E5F1-F56ADF96DCE1}"/>
                </a:ext>
              </a:extLst>
            </p:cNvPr>
            <p:cNvSpPr txBox="1"/>
            <p:nvPr/>
          </p:nvSpPr>
          <p:spPr>
            <a:xfrm>
              <a:off x="3983276" y="1235379"/>
              <a:ext cx="1363186" cy="212938"/>
            </a:xfrm>
            <a:prstGeom prst="rect">
              <a:avLst/>
            </a:prstGeom>
          </p:spPr>
          <p:txBody>
            <a:bodyPr vert="horz" wrap="square" lIns="0" tIns="6350" rIns="0" bIns="0" rtlCol="0">
              <a:spAutoFit/>
            </a:bodyPr>
            <a:lstStyle/>
            <a:p>
              <a:pPr marL="6350" algn="ctr">
                <a:spcBef>
                  <a:spcPts val="50"/>
                </a:spcBef>
              </a:pPr>
              <a:r>
                <a:rPr lang="it-IT"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STRUMENTI</a:t>
              </a:r>
              <a:endParaRPr b="1" kern="1200" dirty="0">
                <a:solidFill>
                  <a:srgbClr val="9C135B"/>
                </a:solidFill>
                <a:latin typeface="Avenir Heavy" panose="02000503020000020003" pitchFamily="2" charset="0"/>
                <a:ea typeface="+mn-ea"/>
                <a:cs typeface="+mn-cs"/>
              </a:endParaRPr>
            </a:p>
          </p:txBody>
        </p:sp>
        <p:sp>
          <p:nvSpPr>
            <p:cNvPr id="6" name="object 3">
              <a:extLst>
                <a:ext uri="{FF2B5EF4-FFF2-40B4-BE49-F238E27FC236}">
                  <a16:creationId xmlns:a16="http://schemas.microsoft.com/office/drawing/2014/main" id="{083E7DEE-F704-B8B5-A894-8D7BA0199E35}"/>
                </a:ext>
              </a:extLst>
            </p:cNvPr>
            <p:cNvSpPr txBox="1"/>
            <p:nvPr/>
          </p:nvSpPr>
          <p:spPr>
            <a:xfrm>
              <a:off x="3479260" y="2621155"/>
              <a:ext cx="2471805" cy="896061"/>
            </a:xfrm>
            <a:prstGeom prst="rect">
              <a:avLst/>
            </a:prstGeom>
          </p:spPr>
          <p:txBody>
            <a:bodyPr vert="horz" wrap="square" lIns="0" tIns="55880" rIns="0" bIns="0" rtlCol="0">
              <a:spAutoFit/>
            </a:bodyPr>
            <a:lstStyle/>
            <a:p>
              <a:pPr algn="ctr"/>
              <a:r>
                <a:rPr lang="it-IT" b="1" dirty="0">
                  <a:solidFill>
                    <a:srgbClr val="EF7F78"/>
                  </a:solidFill>
                  <a:effectLst/>
                  <a:latin typeface="Avenir Heavy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Una piattaforma online </a:t>
              </a:r>
            </a:p>
            <a:p>
              <a:pPr algn="ctr"/>
              <a:r>
                <a:rPr lang="it-IT" sz="10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personalizzata</a:t>
              </a:r>
            </a:p>
            <a:p>
              <a:pPr algn="ctr"/>
              <a:r>
                <a:rPr lang="it-IT" sz="900" dirty="0">
                  <a:solidFill>
                    <a:schemeClr val="tx1"/>
                  </a:solidFill>
                  <a:latin typeface="Avenir Light" panose="020B0402020203020204" pitchFamily="34" charset="77"/>
                  <a:cs typeface="Times New Roman" panose="02020603050405020304" pitchFamily="18" charset="0"/>
                </a:rPr>
                <a:t>&amp;</a:t>
              </a:r>
            </a:p>
            <a:p>
              <a:pPr algn="ctr"/>
              <a:r>
                <a:rPr lang="it-IT" b="1" dirty="0">
                  <a:solidFill>
                    <a:srgbClr val="EF7F78"/>
                  </a:solidFill>
                  <a:effectLst/>
                  <a:latin typeface="Avenir Heavy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Una giornata di animazione </a:t>
              </a:r>
            </a:p>
            <a:p>
              <a:pPr algn="ctr"/>
              <a:r>
                <a:rPr lang="it-IT" sz="10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in ogni Residenza</a:t>
              </a:r>
            </a:p>
          </p:txBody>
        </p:sp>
        <p:pic>
          <p:nvPicPr>
            <p:cNvPr id="23" name="object 10">
              <a:extLst>
                <a:ext uri="{FF2B5EF4-FFF2-40B4-BE49-F238E27FC236}">
                  <a16:creationId xmlns:a16="http://schemas.microsoft.com/office/drawing/2014/main" id="{E2C13548-4E11-63D2-E61A-C666D3B6B2B0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488656" y="1839698"/>
              <a:ext cx="352425" cy="447675"/>
            </a:xfrm>
            <a:prstGeom prst="rect">
              <a:avLst/>
            </a:prstGeom>
          </p:spPr>
        </p:pic>
      </p:grpSp>
      <p:grpSp>
        <p:nvGrpSpPr>
          <p:cNvPr id="57" name="Gruppo 56">
            <a:extLst>
              <a:ext uri="{FF2B5EF4-FFF2-40B4-BE49-F238E27FC236}">
                <a16:creationId xmlns:a16="http://schemas.microsoft.com/office/drawing/2014/main" id="{AAE9DAFF-2A1C-4A4D-5473-FE27CDDC164E}"/>
              </a:ext>
            </a:extLst>
          </p:cNvPr>
          <p:cNvGrpSpPr/>
          <p:nvPr/>
        </p:nvGrpSpPr>
        <p:grpSpPr>
          <a:xfrm>
            <a:off x="6444133" y="1240573"/>
            <a:ext cx="2471805" cy="2800854"/>
            <a:chOff x="6444133" y="1240573"/>
            <a:chExt cx="2471805" cy="2800854"/>
          </a:xfrm>
        </p:grpSpPr>
        <p:sp>
          <p:nvSpPr>
            <p:cNvPr id="56" name="Ovale 55">
              <a:extLst>
                <a:ext uri="{FF2B5EF4-FFF2-40B4-BE49-F238E27FC236}">
                  <a16:creationId xmlns:a16="http://schemas.microsoft.com/office/drawing/2014/main" id="{564632B3-A3F0-4250-A4A9-81BD8C948F2F}"/>
                </a:ext>
              </a:extLst>
            </p:cNvPr>
            <p:cNvSpPr/>
            <p:nvPr/>
          </p:nvSpPr>
          <p:spPr>
            <a:xfrm>
              <a:off x="7340014" y="1717797"/>
              <a:ext cx="627775" cy="627775"/>
            </a:xfrm>
            <a:prstGeom prst="ellipse">
              <a:avLst/>
            </a:prstGeom>
            <a:solidFill>
              <a:srgbClr val="EF7F78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rgbClr val="9C135B"/>
                </a:solidFill>
              </a:endParaRPr>
            </a:p>
          </p:txBody>
        </p:sp>
        <p:sp>
          <p:nvSpPr>
            <p:cNvPr id="34" name="object 20">
              <a:extLst>
                <a:ext uri="{FF2B5EF4-FFF2-40B4-BE49-F238E27FC236}">
                  <a16:creationId xmlns:a16="http://schemas.microsoft.com/office/drawing/2014/main" id="{E61B1A13-C4BF-4A9C-89C0-324A0BBFEA71}"/>
                </a:ext>
              </a:extLst>
            </p:cNvPr>
            <p:cNvSpPr txBox="1"/>
            <p:nvPr/>
          </p:nvSpPr>
          <p:spPr>
            <a:xfrm>
              <a:off x="6927368" y="1240573"/>
              <a:ext cx="1505334" cy="221856"/>
            </a:xfrm>
            <a:prstGeom prst="rect">
              <a:avLst/>
            </a:prstGeom>
          </p:spPr>
          <p:txBody>
            <a:bodyPr vert="horz" wrap="square" lIns="0" tIns="6350" rIns="0" bIns="0" rtlCol="0">
              <a:spAutoFit/>
            </a:bodyPr>
            <a:lstStyle/>
            <a:p>
              <a:pPr marL="6350" lvl="0" indent="0" algn="ctr" defTabSz="914400" eaLnBrk="1" fontAlgn="auto" latinLnBrk="0" hangingPunct="1">
                <a:spcBef>
                  <a:spcPts val="50"/>
                </a:spcBef>
                <a:buSzTx/>
                <a:buFont typeface="Arial"/>
                <a:buNone/>
                <a:tabLst/>
                <a:defRPr/>
              </a:pPr>
              <a:r>
                <a:rPr lang="it-IT"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PREMI</a:t>
              </a:r>
              <a:endParaRPr b="1" kern="1200" dirty="0">
                <a:solidFill>
                  <a:srgbClr val="9C135B"/>
                </a:solidFill>
                <a:latin typeface="Avenir Heavy" panose="02000503020000020003" pitchFamily="2" charset="0"/>
                <a:ea typeface="+mn-ea"/>
                <a:cs typeface="+mn-cs"/>
              </a:endParaRPr>
            </a:p>
          </p:txBody>
        </p:sp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062FA90-FA33-442B-BBCE-E05C4BEA8F09}"/>
                </a:ext>
              </a:extLst>
            </p:cNvPr>
            <p:cNvSpPr txBox="1"/>
            <p:nvPr/>
          </p:nvSpPr>
          <p:spPr>
            <a:xfrm>
              <a:off x="6444133" y="2657420"/>
              <a:ext cx="2471805" cy="487313"/>
            </a:xfrm>
            <a:prstGeom prst="rect">
              <a:avLst/>
            </a:prstGeom>
          </p:spPr>
          <p:txBody>
            <a:bodyPr vert="horz" wrap="square" lIns="0" tIns="55880" rIns="0" bIns="0" rtlCol="0">
              <a:spAutoFit/>
            </a:bodyPr>
            <a:lstStyle/>
            <a:p>
              <a:pPr algn="ctr"/>
              <a:r>
                <a:rPr lang="it-IT" b="1" dirty="0">
                  <a:solidFill>
                    <a:srgbClr val="EF7F78"/>
                  </a:solidFill>
                  <a:effectLst/>
                  <a:latin typeface="Avenir Heavy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 gli interventi e </a:t>
              </a:r>
            </a:p>
            <a:p>
              <a:pPr algn="ctr"/>
              <a:r>
                <a:rPr lang="it-IT" b="1" dirty="0">
                  <a:solidFill>
                    <a:srgbClr val="EF7F78"/>
                  </a:solidFill>
                  <a:effectLst/>
                  <a:latin typeface="Avenir Heavy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i contributi più significativi.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12AA120E-F2F5-87F7-C4BD-9E125B40A237}"/>
                </a:ext>
              </a:extLst>
            </p:cNvPr>
            <p:cNvSpPr txBox="1"/>
            <p:nvPr/>
          </p:nvSpPr>
          <p:spPr>
            <a:xfrm>
              <a:off x="6589060" y="3395096"/>
              <a:ext cx="218194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Grand </a:t>
              </a:r>
              <a:r>
                <a:rPr lang="it-IT" sz="900" dirty="0" err="1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Jury</a:t>
              </a:r>
              <a:r>
                <a:rPr lang="it-IT" sz="9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 Award</a:t>
              </a:r>
            </a:p>
            <a:p>
              <a:pPr algn="ctr"/>
              <a:r>
                <a:rPr lang="it-IT" sz="9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Premio per categoria</a:t>
              </a:r>
            </a:p>
            <a:p>
              <a:pPr algn="ctr"/>
              <a:r>
                <a:rPr lang="it-IT" sz="9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Idea più supportata dalla community</a:t>
              </a:r>
            </a:p>
            <a:p>
              <a:pPr algn="ctr"/>
              <a:r>
                <a:rPr lang="it-IT" sz="900" dirty="0">
                  <a:solidFill>
                    <a:schemeClr val="tx1"/>
                  </a:solidFill>
                  <a:latin typeface="Avenir Book" panose="02000503020000020003" pitchFamily="2" charset="0"/>
                  <a:cs typeface="Times New Roman" panose="02020603050405020304" pitchFamily="18" charset="0"/>
                </a:rPr>
                <a:t>…</a:t>
              </a:r>
            </a:p>
          </p:txBody>
        </p:sp>
        <p:pic>
          <p:nvPicPr>
            <p:cNvPr id="28" name="object 14">
              <a:extLst>
                <a:ext uri="{FF2B5EF4-FFF2-40B4-BE49-F238E27FC236}">
                  <a16:creationId xmlns:a16="http://schemas.microsoft.com/office/drawing/2014/main" id="{5F3B7E0C-4179-23C6-1539-B4299B8511C6}"/>
                </a:ext>
              </a:extLst>
            </p:cNvPr>
            <p:cNvPicPr/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23254" b="75572" l="26965" r="70297"/>
                      </a14:imgEffect>
                    </a14:imgLayer>
                  </a14:imgProps>
                </a:ext>
              </a:extLst>
            </a:blip>
            <a:srcRect l="21548" t="16714" r="24287" b="17889"/>
            <a:stretch/>
          </p:blipFill>
          <p:spPr>
            <a:xfrm>
              <a:off x="7429059" y="1783513"/>
              <a:ext cx="412739" cy="498326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66964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IUC Business School | Castellanza">
            <a:extLst>
              <a:ext uri="{FF2B5EF4-FFF2-40B4-BE49-F238E27FC236}">
                <a16:creationId xmlns:a16="http://schemas.microsoft.com/office/drawing/2014/main" id="{E5468D89-D82A-A612-E09B-A37BCBB2B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326" y="3472241"/>
            <a:ext cx="884999" cy="88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624" imgH="623" progId="TCLayout.ActiveDocument.1">
                  <p:embed/>
                </p:oleObj>
              </mc:Choice>
              <mc:Fallback>
                <p:oleObj name="Diapositive think-cell" r:id="rId6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0610237-6582-CEA5-36C2-369869C75A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1509" y="4620613"/>
            <a:ext cx="1380565" cy="339748"/>
          </a:xfrm>
          <a:prstGeom prst="rect">
            <a:avLst/>
          </a:prstGeom>
        </p:spPr>
      </p:pic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8423570" cy="678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lang="it-IT" sz="2400" b="1" dirty="0">
                <a:solidFill>
                  <a:srgbClr val="5D004A"/>
                </a:solidFill>
                <a:latin typeface="Avenir Black" panose="02000503020000020003" pitchFamily="2" charset="0"/>
              </a:rPr>
              <a:t>3-</a:t>
            </a:r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 EVENTI FORMATIVI</a:t>
            </a:r>
            <a:br>
              <a:rPr kumimoji="0" lang="it-IT" sz="20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</a:br>
            <a:r>
              <a:rPr kumimoji="0" lang="it-IT" sz="1600" b="1" u="none" strike="noStrike" kern="0" cap="none" spc="0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  <a:t>UNA FORMAZIONE CONTINUA</a:t>
            </a:r>
            <a:br>
              <a:rPr kumimoji="0" lang="it-IT" sz="21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</a:br>
            <a:endParaRPr kumimoji="0" lang="it-IT" sz="2100" b="1" u="none" strike="noStrike" kern="0" cap="none" spc="0" normalizeH="0" baseline="0" noProof="0" dirty="0">
              <a:ln>
                <a:noFill/>
              </a:ln>
              <a:solidFill>
                <a:srgbClr val="B7B7B7"/>
              </a:solidFill>
              <a:effectLst/>
              <a:uLnTx/>
              <a:uFillTx/>
              <a:latin typeface="Avenir Heavy" panose="02000503020000020003" pitchFamily="2" charset="0"/>
              <a:sym typeface="Roboto Light"/>
            </a:endParaRPr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88307508-F2D0-CB6A-B0F6-0717F866BD17}"/>
              </a:ext>
            </a:extLst>
          </p:cNvPr>
          <p:cNvSpPr/>
          <p:nvPr/>
        </p:nvSpPr>
        <p:spPr>
          <a:xfrm>
            <a:off x="2162221" y="1393753"/>
            <a:ext cx="958801" cy="958801"/>
          </a:xfrm>
          <a:prstGeom prst="ellipse">
            <a:avLst/>
          </a:prstGeom>
          <a:solidFill>
            <a:srgbClr val="9C1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8" name="Elemento grafico 27" descr="Aula con riempimento a tinta unita">
            <a:extLst>
              <a:ext uri="{FF2B5EF4-FFF2-40B4-BE49-F238E27FC236}">
                <a16:creationId xmlns:a16="http://schemas.microsoft.com/office/drawing/2014/main" id="{B2CDBD05-A05E-B686-1771-6B771490B6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64411" y="1601820"/>
            <a:ext cx="537807" cy="537807"/>
          </a:xfrm>
          <a:prstGeom prst="rect">
            <a:avLst/>
          </a:prstGeom>
        </p:spPr>
      </p:pic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78FFE2A3-8C5C-C745-EE5E-EAD679911238}"/>
              </a:ext>
            </a:extLst>
          </p:cNvPr>
          <p:cNvSpPr txBox="1"/>
          <p:nvPr/>
        </p:nvSpPr>
        <p:spPr>
          <a:xfrm>
            <a:off x="943661" y="2490730"/>
            <a:ext cx="3379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strike="noStrike" kern="1200" cap="none" spc="0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Black" panose="02000503020000020003" pitchFamily="2" charset="0"/>
                <a:ea typeface="+mn-ea"/>
                <a:sym typeface="Arial"/>
              </a:rPr>
              <a:t>EVENTI FORMATIVI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0D5AE321-2D85-0452-09EB-3CB526EE90BF}"/>
              </a:ext>
            </a:extLst>
          </p:cNvPr>
          <p:cNvSpPr txBox="1"/>
          <p:nvPr/>
        </p:nvSpPr>
        <p:spPr>
          <a:xfrm>
            <a:off x="341287" y="2853999"/>
            <a:ext cx="189355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1200" dirty="0">
                <a:solidFill>
                  <a:srgbClr val="5D004A"/>
                </a:solidFill>
                <a:latin typeface="Avenir Heavy" panose="02000503020000020003" pitchFamily="2" charset="0"/>
                <a:ea typeface="+mn-ea"/>
              </a:rPr>
              <a:t>MASTER CORE ACADEM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kern="1200" dirty="0">
                <a:solidFill>
                  <a:srgbClr val="5D004A"/>
                </a:solidFill>
                <a:latin typeface="Avenir Book" panose="02000503020000020003" pitchFamily="2" charset="0"/>
                <a:ea typeface="+mn-ea"/>
              </a:rPr>
              <a:t>aprile 2022 – giugno 2023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BD0DEAEB-5414-9570-257D-81CA02CC2A8C}"/>
              </a:ext>
            </a:extLst>
          </p:cNvPr>
          <p:cNvSpPr txBox="1"/>
          <p:nvPr/>
        </p:nvSpPr>
        <p:spPr>
          <a:xfrm>
            <a:off x="2983051" y="2861556"/>
            <a:ext cx="1893551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1200" dirty="0">
                <a:solidFill>
                  <a:srgbClr val="5D004A"/>
                </a:solidFill>
                <a:latin typeface="Avenir Heavy" panose="02000503020000020003" pitchFamily="2" charset="0"/>
                <a:ea typeface="+mn-ea"/>
              </a:rPr>
              <a:t>LIUC BUSINESS SCHO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00" kern="1200" dirty="0">
                <a:solidFill>
                  <a:srgbClr val="5D004A"/>
                </a:solidFill>
                <a:latin typeface="Avenir Book" panose="02000503020000020003" pitchFamily="2" charset="0"/>
                <a:ea typeface="+mn-ea"/>
              </a:rPr>
              <a:t>Executive Program in management delle RS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kern="1200" dirty="0">
                <a:solidFill>
                  <a:srgbClr val="5D004A"/>
                </a:solidFill>
                <a:latin typeface="Avenir Book" panose="02000503020000020003" pitchFamily="2" charset="0"/>
                <a:ea typeface="+mn-ea"/>
              </a:rPr>
              <a:t>febbraio 2022 – maggio 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u="none" strike="noStrike" kern="1200" cap="none" spc="0" normalizeH="0" baseline="0" noProof="0" dirty="0">
              <a:ln>
                <a:noFill/>
              </a:ln>
              <a:solidFill>
                <a:srgbClr val="5D004A"/>
              </a:solidFill>
              <a:effectLst/>
              <a:uLnTx/>
              <a:uFillTx/>
              <a:latin typeface="Avenir Book" panose="02000503020000020003" pitchFamily="2" charset="0"/>
              <a:ea typeface="+mn-ea"/>
              <a:sym typeface="Arial"/>
            </a:endParaRPr>
          </a:p>
        </p:txBody>
      </p:sp>
      <p:pic>
        <p:nvPicPr>
          <p:cNvPr id="7" name="Elemento grafico 6">
            <a:extLst>
              <a:ext uri="{FF2B5EF4-FFF2-40B4-BE49-F238E27FC236}">
                <a16:creationId xmlns:a16="http://schemas.microsoft.com/office/drawing/2014/main" id="{CB729BCF-479F-5661-E673-F4BA7257E0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24384" y="1763071"/>
            <a:ext cx="4238340" cy="2828074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CB451827-CAC3-BBBD-D92B-88FB4C27582A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121" t="9111" r="8087" b="14741"/>
          <a:stretch/>
        </p:blipFill>
        <p:spPr>
          <a:xfrm>
            <a:off x="772847" y="3284886"/>
            <a:ext cx="901567" cy="56787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37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3">
            <a:extLst>
              <a:ext uri="{FF2B5EF4-FFF2-40B4-BE49-F238E27FC236}">
                <a16:creationId xmlns:a16="http://schemas.microsoft.com/office/drawing/2014/main" id="{DCD3CD9B-F557-669C-87BF-B053C1A4DF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7425" r="1" b="40492"/>
          <a:stretch/>
        </p:blipFill>
        <p:spPr>
          <a:xfrm>
            <a:off x="1598753" y="2619464"/>
            <a:ext cx="3270854" cy="1811878"/>
          </a:xfrm>
          <a:prstGeom prst="rect">
            <a:avLst/>
          </a:prstGeom>
        </p:spPr>
      </p:pic>
      <p:sp>
        <p:nvSpPr>
          <p:cNvPr id="12" name="Rettangolo 11">
            <a:extLst>
              <a:ext uri="{FF2B5EF4-FFF2-40B4-BE49-F238E27FC236}">
                <a16:creationId xmlns:a16="http://schemas.microsoft.com/office/drawing/2014/main" id="{2643026C-5B16-C55B-FB9D-8F36B22F1512}"/>
              </a:ext>
            </a:extLst>
          </p:cNvPr>
          <p:cNvSpPr/>
          <p:nvPr/>
        </p:nvSpPr>
        <p:spPr>
          <a:xfrm>
            <a:off x="1001226" y="2388915"/>
            <a:ext cx="6032738" cy="205669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624" imgH="623" progId="TCLayout.ActiveDocument.1">
                  <p:embed/>
                </p:oleObj>
              </mc:Choice>
              <mc:Fallback>
                <p:oleObj name="Diapositive think-cell" r:id="rId6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0610237-6582-CEA5-36C2-369869C75A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1509" y="4620613"/>
            <a:ext cx="1380565" cy="339748"/>
          </a:xfrm>
          <a:prstGeom prst="rect">
            <a:avLst/>
          </a:prstGeom>
        </p:spPr>
      </p:pic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8423570" cy="54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3- </a:t>
            </a:r>
            <a:r>
              <a:rPr kumimoji="0" lang="it-IT" sz="2400" b="1" u="none" strike="noStrike" kern="0" cap="none" spc="0" normalizeH="0" baseline="0" noProof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EVENTI INTERNI</a:t>
            </a:r>
            <a:endParaRPr kumimoji="0" lang="it-IT" sz="2400" b="1" u="none" strike="noStrike" kern="0" cap="none" spc="0" normalizeH="0" baseline="0" noProof="0" dirty="0">
              <a:ln>
                <a:noFill/>
              </a:ln>
              <a:solidFill>
                <a:srgbClr val="5D004A"/>
              </a:solidFill>
              <a:effectLst/>
              <a:uLnTx/>
              <a:uFillTx/>
              <a:latin typeface="Avenir Black" panose="02000503020000020003" pitchFamily="2" charset="0"/>
              <a:sym typeface="Roboto Ligh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kumimoji="0" lang="it-IT" sz="1600" b="1" u="none" strike="noStrike" kern="0" cap="none" spc="0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  <a:t>PER CRESCERE INSIEME</a:t>
            </a:r>
            <a:br>
              <a:rPr kumimoji="0" lang="it-IT" sz="2100" b="0" i="0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Century Gothic" panose="020B0502020202020204" pitchFamily="34" charset="0"/>
                <a:ea typeface="Roboto Light"/>
                <a:cs typeface="Roboto Light"/>
                <a:sym typeface="Roboto Light"/>
              </a:rPr>
            </a:br>
            <a:endParaRPr kumimoji="0" lang="it-IT" sz="2100" b="0" i="0" u="none" strike="noStrike" kern="0" cap="none" spc="0" normalizeH="0" baseline="0" noProof="0" dirty="0">
              <a:ln>
                <a:noFill/>
              </a:ln>
              <a:solidFill>
                <a:srgbClr val="B7B7B7"/>
              </a:solidFill>
              <a:effectLst/>
              <a:uLnTx/>
              <a:uFillTx/>
              <a:latin typeface="Century Gothic" panose="020B0502020202020204" pitchFamily="34" charset="0"/>
              <a:ea typeface="Roboto Light"/>
              <a:cs typeface="Roboto Light"/>
              <a:sym typeface="Roboto Light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16E5E2D-B423-4939-11E6-57F4D802815B}"/>
              </a:ext>
            </a:extLst>
          </p:cNvPr>
          <p:cNvSpPr/>
          <p:nvPr/>
        </p:nvSpPr>
        <p:spPr>
          <a:xfrm>
            <a:off x="2486781" y="1260860"/>
            <a:ext cx="4318017" cy="866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prstClr val="white"/>
              </a:solidFill>
              <a:latin typeface="Century Gothic" panose="020F0302020204030204"/>
            </a:endParaRPr>
          </a:p>
        </p:txBody>
      </p:sp>
      <p:pic>
        <p:nvPicPr>
          <p:cNvPr id="10" name="Immagine 9" descr="Immagine che contiene testo, pavimento, interno, persona&#10;&#10;Descrizione generata automaticamente">
            <a:extLst>
              <a:ext uri="{FF2B5EF4-FFF2-40B4-BE49-F238E27FC236}">
                <a16:creationId xmlns:a16="http://schemas.microsoft.com/office/drawing/2014/main" id="{827A0B03-04B9-AA5C-778F-DAF87F10709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3353" t="7205" r="8645"/>
          <a:stretch/>
        </p:blipFill>
        <p:spPr>
          <a:xfrm>
            <a:off x="6869335" y="687974"/>
            <a:ext cx="2274664" cy="2372308"/>
          </a:xfrm>
          <a:prstGeom prst="rect">
            <a:avLst/>
          </a:prstGeom>
        </p:spPr>
      </p:pic>
      <p:sp>
        <p:nvSpPr>
          <p:cNvPr id="3" name="Ovale 2">
            <a:extLst>
              <a:ext uri="{FF2B5EF4-FFF2-40B4-BE49-F238E27FC236}">
                <a16:creationId xmlns:a16="http://schemas.microsoft.com/office/drawing/2014/main" id="{2D44C480-115C-9B38-469E-D41B21243BB7}"/>
              </a:ext>
            </a:extLst>
          </p:cNvPr>
          <p:cNvSpPr/>
          <p:nvPr/>
        </p:nvSpPr>
        <p:spPr>
          <a:xfrm>
            <a:off x="2916078" y="1260860"/>
            <a:ext cx="958801" cy="958801"/>
          </a:xfrm>
          <a:prstGeom prst="ellipse">
            <a:avLst/>
          </a:prstGeom>
          <a:solidFill>
            <a:srgbClr val="9C1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4" name="Elemento grafico 13" descr="Riunione con riempimento a tinta unita">
            <a:extLst>
              <a:ext uri="{FF2B5EF4-FFF2-40B4-BE49-F238E27FC236}">
                <a16:creationId xmlns:a16="http://schemas.microsoft.com/office/drawing/2014/main" id="{C1518458-D4F1-49FA-4CAC-366AAC9813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48467" y="1384178"/>
            <a:ext cx="694021" cy="694021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E6544CB5-7877-92E7-1A40-0827BAB7B97D}"/>
              </a:ext>
            </a:extLst>
          </p:cNvPr>
          <p:cNvSpPr txBox="1"/>
          <p:nvPr/>
        </p:nvSpPr>
        <p:spPr>
          <a:xfrm>
            <a:off x="1697518" y="2357837"/>
            <a:ext cx="3379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</a:pPr>
            <a:r>
              <a:rPr lang="it-IT" b="1" kern="1200" dirty="0">
                <a:solidFill>
                  <a:srgbClr val="EF7F78"/>
                </a:solidFill>
                <a:latin typeface="Avenir Black" panose="02000503020000020003" pitchFamily="2" charset="0"/>
                <a:ea typeface="+mn-ea"/>
                <a:cs typeface="+mn-cs"/>
              </a:rPr>
              <a:t>EVENTI INTERNI </a:t>
            </a:r>
          </a:p>
          <a:p>
            <a:pPr algn="ctr">
              <a:buClrTx/>
              <a:buFontTx/>
              <a:buNone/>
            </a:pPr>
            <a:r>
              <a:rPr lang="it-IT" b="1" kern="1200" dirty="0">
                <a:solidFill>
                  <a:srgbClr val="EF7F78"/>
                </a:solidFill>
                <a:latin typeface="Avenir Black" panose="02000503020000020003" pitchFamily="2" charset="0"/>
                <a:ea typeface="+mn-ea"/>
                <a:cs typeface="+mn-cs"/>
              </a:rPr>
              <a:t>DI AGGIORNAMENTO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C60D5F4D-ADD1-E2A6-B8A4-520692B40C0D}"/>
              </a:ext>
            </a:extLst>
          </p:cNvPr>
          <p:cNvSpPr txBox="1"/>
          <p:nvPr/>
        </p:nvSpPr>
        <p:spPr>
          <a:xfrm>
            <a:off x="933213" y="2865943"/>
            <a:ext cx="18935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1200" dirty="0">
                <a:solidFill>
                  <a:srgbClr val="5D004A"/>
                </a:solidFill>
                <a:latin typeface="Avenir Heavy" panose="02000503020000020003" pitchFamily="2" charset="0"/>
                <a:ea typeface="+mn-ea"/>
              </a:rPr>
              <a:t>RIUNIONI TRIMESTRALI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1AA0E3AD-5308-83DC-1770-0F006324C63E}"/>
              </a:ext>
            </a:extLst>
          </p:cNvPr>
          <p:cNvSpPr txBox="1"/>
          <p:nvPr/>
        </p:nvSpPr>
        <p:spPr>
          <a:xfrm>
            <a:off x="3991869" y="2858386"/>
            <a:ext cx="189355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buClrTx/>
              <a:defRPr/>
            </a:pPr>
            <a:r>
              <a:rPr lang="it-IT" sz="1200" b="1" kern="1200" dirty="0">
                <a:solidFill>
                  <a:srgbClr val="5D004A"/>
                </a:solidFill>
                <a:latin typeface="Avenir Heavy" panose="02000503020000020003" pitchFamily="2" charset="0"/>
                <a:ea typeface="+mn-ea"/>
              </a:rPr>
              <a:t>CONVENTION AZIENDALI DI FINE ANNO</a:t>
            </a:r>
          </a:p>
        </p:txBody>
      </p:sp>
      <p:pic>
        <p:nvPicPr>
          <p:cNvPr id="13" name="Immagine 12" descr="Immagine che contiene persona, gruppo, persone, pavimento&#10;&#10;Descrizione generata automaticamente">
            <a:extLst>
              <a:ext uri="{FF2B5EF4-FFF2-40B4-BE49-F238E27FC236}">
                <a16:creationId xmlns:a16="http://schemas.microsoft.com/office/drawing/2014/main" id="{580CB918-6C54-4634-A9C8-06DE9CA29AA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6768" b="5555"/>
          <a:stretch/>
        </p:blipFill>
        <p:spPr>
          <a:xfrm>
            <a:off x="6869336" y="3061133"/>
            <a:ext cx="2274663" cy="14957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494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124AE099-281F-AB22-3983-9971C2E19A1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5D00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5F9E1F58-A689-BDA3-3FD3-0B412B4EACC1}"/>
              </a:ext>
            </a:extLst>
          </p:cNvPr>
          <p:cNvSpPr txBox="1"/>
          <p:nvPr/>
        </p:nvSpPr>
        <p:spPr>
          <a:xfrm>
            <a:off x="1946563" y="1817780"/>
            <a:ext cx="525087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  <a:t>Da soli possiamo fare così poco. </a:t>
            </a:r>
          </a:p>
          <a:p>
            <a:pPr algn="ctr"/>
            <a:r>
              <a:rPr lang="it-IT" sz="24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  <a:t>Insieme possiamo fare così tanto.</a:t>
            </a:r>
            <a:br>
              <a:rPr lang="it-IT" sz="24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it-IT" sz="2400" i="1" dirty="0">
              <a:solidFill>
                <a:srgbClr val="EF7F78"/>
              </a:solidFill>
              <a:effectLst/>
              <a:latin typeface="Centennial LT Std 45 Light" panose="02040504060506020304" pitchFamily="18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it-IT" sz="2400" i="1" dirty="0">
              <a:solidFill>
                <a:srgbClr val="EF7F78"/>
              </a:solidFill>
              <a:latin typeface="Centennial LT Std 45 Light" panose="02040504060506020304" pitchFamily="18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it-IT" sz="24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  <a:t>(Helen Keller)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1596829-2C53-EFAC-43D7-7B62C6112703}"/>
              </a:ext>
            </a:extLst>
          </p:cNvPr>
          <p:cNvSpPr txBox="1"/>
          <p:nvPr/>
        </p:nvSpPr>
        <p:spPr>
          <a:xfrm>
            <a:off x="1694871" y="1451455"/>
            <a:ext cx="632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72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endParaRPr lang="it-IT" sz="7200" dirty="0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FA1D422-0B8D-4AB3-BCD8-690CEB393E5C}"/>
              </a:ext>
            </a:extLst>
          </p:cNvPr>
          <p:cNvSpPr txBox="1"/>
          <p:nvPr/>
        </p:nvSpPr>
        <p:spPr>
          <a:xfrm rot="10800000">
            <a:off x="6816438" y="1817780"/>
            <a:ext cx="632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7200" i="1" dirty="0">
                <a:solidFill>
                  <a:srgbClr val="EF7F78"/>
                </a:solidFill>
                <a:effectLst/>
                <a:latin typeface="Centennial LT Std 45 Light" panose="02040504060506020304" pitchFamily="18" charset="77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endParaRPr lang="it-IT" sz="7200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E3F1766-9213-76A6-7582-8D0D514EEA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9352" y="3833675"/>
            <a:ext cx="2465294" cy="1386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79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Google Shape;68;p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8462" y="-4762"/>
            <a:ext cx="9160924" cy="515302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624" imgH="623" progId="TCLayout.ActiveDocument.1">
                  <p:embed/>
                </p:oleObj>
              </mc:Choice>
              <mc:Fallback>
                <p:oleObj name="Diapositive think-cell" r:id="rId5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050" y="276357"/>
            <a:ext cx="8423570" cy="266259"/>
          </a:xfrm>
        </p:spPr>
        <p:txBody>
          <a:bodyPr/>
          <a:lstStyle/>
          <a:p>
            <a:r>
              <a:rPr lang="it-IT" sz="2400" b="1" dirty="0">
                <a:solidFill>
                  <a:srgbClr val="5D004A"/>
                </a:solidFill>
                <a:latin typeface="Avenir Black" panose="02000503020000020003" pitchFamily="2" charset="0"/>
              </a:rPr>
              <a:t>CHI È COLISÉE? </a:t>
            </a:r>
            <a:br>
              <a:rPr lang="it-IT" sz="2000" b="1" dirty="0">
                <a:latin typeface="Avenir Heavy" panose="02000503020000020003" pitchFamily="2" charset="0"/>
              </a:rPr>
            </a:br>
            <a:r>
              <a:rPr lang="it-IT" sz="1600" b="1" dirty="0">
                <a:solidFill>
                  <a:srgbClr val="EF7F78"/>
                </a:solidFill>
                <a:latin typeface="Avenir Heavy" panose="02000503020000020003" pitchFamily="2" charset="0"/>
              </a:rPr>
              <a:t>4° ATTORE EUROPEO NEL SEGMENTO </a:t>
            </a:r>
            <a:br>
              <a:rPr lang="it-IT" sz="1600" b="1" dirty="0">
                <a:solidFill>
                  <a:srgbClr val="EF7F78"/>
                </a:solidFill>
                <a:latin typeface="Avenir Heavy" panose="02000503020000020003" pitchFamily="2" charset="0"/>
              </a:rPr>
            </a:br>
            <a:r>
              <a:rPr lang="it-IT" sz="1600" b="1" dirty="0">
                <a:solidFill>
                  <a:srgbClr val="EF7F78"/>
                </a:solidFill>
                <a:latin typeface="Avenir Heavy" panose="02000503020000020003" pitchFamily="2" charset="0"/>
              </a:rPr>
              <a:t>DELL’ASSISTENZA AGLI ANZIANI </a:t>
            </a:r>
            <a:br>
              <a:rPr lang="it-IT" b="1" dirty="0">
                <a:latin typeface="Avenir Heavy" panose="02000503020000020003" pitchFamily="2" charset="0"/>
              </a:rPr>
            </a:br>
            <a:br>
              <a:rPr lang="it-IT" b="1" dirty="0">
                <a:latin typeface="Avenir Heavy" panose="02000503020000020003" pitchFamily="2" charset="0"/>
              </a:rPr>
            </a:br>
            <a:r>
              <a:rPr lang="it-IT" b="1" dirty="0">
                <a:latin typeface="Avenir Heavy" panose="02000503020000020003" pitchFamily="2" charset="0"/>
              </a:rPr>
              <a:t> </a:t>
            </a:r>
            <a:br>
              <a:rPr lang="it-IT" b="1" dirty="0">
                <a:latin typeface="Avenir Heavy" panose="02000503020000020003" pitchFamily="2" charset="0"/>
              </a:rPr>
            </a:br>
            <a:endParaRPr lang="it-IT" b="1" dirty="0">
              <a:latin typeface="Avenir Heavy" panose="02000503020000020003" pitchFamily="2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0DBF02D-AC08-092F-BEF1-7F587298A7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91055" y="4697269"/>
            <a:ext cx="1380565" cy="339748"/>
          </a:xfrm>
          <a:prstGeom prst="rect">
            <a:avLst/>
          </a:prstGeom>
        </p:spPr>
      </p:pic>
      <p:grpSp>
        <p:nvGrpSpPr>
          <p:cNvPr id="10" name="Gruppo 9">
            <a:extLst>
              <a:ext uri="{FF2B5EF4-FFF2-40B4-BE49-F238E27FC236}">
                <a16:creationId xmlns:a16="http://schemas.microsoft.com/office/drawing/2014/main" id="{8CB9703C-B15C-9C77-62B3-DFC59D83220A}"/>
              </a:ext>
            </a:extLst>
          </p:cNvPr>
          <p:cNvGrpSpPr/>
          <p:nvPr/>
        </p:nvGrpSpPr>
        <p:grpSpPr>
          <a:xfrm>
            <a:off x="3155576" y="3933071"/>
            <a:ext cx="5913586" cy="544364"/>
            <a:chOff x="3078588" y="3835886"/>
            <a:chExt cx="5913586" cy="544364"/>
          </a:xfrm>
        </p:grpSpPr>
        <p:sp>
          <p:nvSpPr>
            <p:cNvPr id="88" name="TextBox 148">
              <a:extLst>
                <a:ext uri="{FF2B5EF4-FFF2-40B4-BE49-F238E27FC236}">
                  <a16:creationId xmlns:a16="http://schemas.microsoft.com/office/drawing/2014/main" id="{1DAE0C81-025D-6263-8A0D-5079781CE85C}"/>
                </a:ext>
              </a:extLst>
            </p:cNvPr>
            <p:cNvSpPr txBox="1"/>
            <p:nvPr/>
          </p:nvSpPr>
          <p:spPr>
            <a:xfrm>
              <a:off x="3961577" y="3905462"/>
              <a:ext cx="921492" cy="425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Heavy" panose="02000503020000020003" pitchFamily="2" charset="0"/>
                  <a:ea typeface="+mn-ea"/>
                  <a:cs typeface="Times New Roman" panose="02020603050405020304" pitchFamily="18" charset="0"/>
                  <a:sym typeface="Arial"/>
                </a:rPr>
                <a:t>372</a:t>
              </a:r>
            </a:p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Strutture</a:t>
              </a:r>
              <a:endParaRPr kumimoji="0" lang="en-GB" sz="800" u="none" strike="noStrike" kern="0" cap="none" spc="0" normalizeH="0" baseline="0" noProof="0" dirty="0">
                <a:ln>
                  <a:noFill/>
                </a:ln>
                <a:solidFill>
                  <a:srgbClr val="8E0062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9" name="TextBox 155">
              <a:extLst>
                <a:ext uri="{FF2B5EF4-FFF2-40B4-BE49-F238E27FC236}">
                  <a16:creationId xmlns:a16="http://schemas.microsoft.com/office/drawing/2014/main" id="{70B36D50-5D4F-C100-1FA3-6F0A130922EC}"/>
                </a:ext>
              </a:extLst>
            </p:cNvPr>
            <p:cNvSpPr txBox="1"/>
            <p:nvPr/>
          </p:nvSpPr>
          <p:spPr>
            <a:xfrm>
              <a:off x="7736686" y="3890499"/>
              <a:ext cx="1179826" cy="425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Heavy" panose="02000503020000020003" pitchFamily="2" charset="0"/>
                  <a:ea typeface="+mn-ea"/>
                  <a:cs typeface="Times New Roman" panose="02020603050405020304" pitchFamily="18" charset="0"/>
                  <a:sym typeface="Arial"/>
                </a:rPr>
                <a:t>~19,000</a:t>
              </a:r>
            </a:p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Dipendenti</a:t>
              </a:r>
              <a:endParaRPr kumimoji="0" lang="en-GB" sz="800" u="none" strike="noStrike" kern="0" cap="none" spc="0" normalizeH="0" baseline="0" noProof="0" dirty="0">
                <a:ln>
                  <a:noFill/>
                </a:ln>
                <a:solidFill>
                  <a:srgbClr val="8E0062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90" name="TextBox 148">
              <a:extLst>
                <a:ext uri="{FF2B5EF4-FFF2-40B4-BE49-F238E27FC236}">
                  <a16:creationId xmlns:a16="http://schemas.microsoft.com/office/drawing/2014/main" id="{5BBF60BB-D4DD-7DA2-6C5A-0AA255907195}"/>
                </a:ext>
              </a:extLst>
            </p:cNvPr>
            <p:cNvSpPr txBox="1"/>
            <p:nvPr/>
          </p:nvSpPr>
          <p:spPr>
            <a:xfrm>
              <a:off x="4883069" y="3892133"/>
              <a:ext cx="1600317" cy="418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800" b="1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Heavy" panose="02000503020000020003" pitchFamily="2" charset="0"/>
                  <a:ea typeface="+mn-ea"/>
                  <a:cs typeface="Times New Roman" panose="02020603050405020304" pitchFamily="18" charset="0"/>
                  <a:sym typeface="Arial"/>
                </a:rPr>
                <a:t>64</a:t>
              </a:r>
            </a:p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Agenzie</a:t>
              </a:r>
              <a:r>
                <a:rPr kumimoji="0" lang="en-GB" sz="800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 di </a:t>
              </a: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servizi</a:t>
              </a:r>
              <a:r>
                <a:rPr kumimoji="0" lang="en-GB" sz="800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domiciliari</a:t>
              </a:r>
              <a:endParaRPr kumimoji="0" lang="en-GB" sz="800" u="none" strike="noStrike" kern="0" cap="none" spc="0" normalizeH="0" baseline="30000" noProof="0" dirty="0">
                <a:ln>
                  <a:noFill/>
                </a:ln>
                <a:solidFill>
                  <a:srgbClr val="8E0062"/>
                </a:solidFill>
                <a:effectLst/>
                <a:uLnTx/>
                <a:uFillTx/>
                <a:latin typeface="Avenir" panose="02000503020000020003" pitchFamily="2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91" name="TextBox 155">
              <a:extLst>
                <a:ext uri="{FF2B5EF4-FFF2-40B4-BE49-F238E27FC236}">
                  <a16:creationId xmlns:a16="http://schemas.microsoft.com/office/drawing/2014/main" id="{B831A749-44A0-E541-2944-AF7176E678FD}"/>
                </a:ext>
              </a:extLst>
            </p:cNvPr>
            <p:cNvSpPr txBox="1"/>
            <p:nvPr/>
          </p:nvSpPr>
          <p:spPr>
            <a:xfrm>
              <a:off x="6490893" y="3898056"/>
              <a:ext cx="1179826" cy="425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Heavy" panose="02000503020000020003" pitchFamily="2" charset="0"/>
                  <a:ea typeface="+mn-ea"/>
                  <a:cs typeface="Times New Roman" panose="02020603050405020304" pitchFamily="18" charset="0"/>
                  <a:sym typeface="Arial"/>
                </a:rPr>
                <a:t>~32,000</a:t>
              </a:r>
            </a:p>
            <a:p>
              <a:pPr marL="0" marR="0" lvl="0" indent="0" algn="ctr" defTabSz="831314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Posti </a:t>
              </a:r>
              <a:r>
                <a:rPr kumimoji="0" lang="en-GB" sz="800" u="none" strike="noStrike" kern="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letto</a:t>
              </a:r>
              <a:r>
                <a:rPr kumimoji="0" lang="en-GB" sz="800" u="none" strike="noStrike" kern="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" panose="02000503020000020003" pitchFamily="2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</a:p>
          </p:txBody>
        </p:sp>
        <p:sp>
          <p:nvSpPr>
            <p:cNvPr id="92" name="ZoneTexte 1">
              <a:extLst>
                <a:ext uri="{FF2B5EF4-FFF2-40B4-BE49-F238E27FC236}">
                  <a16:creationId xmlns:a16="http://schemas.microsoft.com/office/drawing/2014/main" id="{A06D1E1D-9B12-9FA4-5EB2-3016556152E7}"/>
                </a:ext>
              </a:extLst>
            </p:cNvPr>
            <p:cNvSpPr txBox="1"/>
            <p:nvPr/>
          </p:nvSpPr>
          <p:spPr>
            <a:xfrm>
              <a:off x="3149272" y="4008041"/>
              <a:ext cx="102049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u="none" strike="noStrike" kern="1200" cap="none" spc="0" normalizeH="0" baseline="0" noProof="0" dirty="0" err="1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Book" panose="02000503020000020003" pitchFamily="2" charset="0"/>
                  <a:ea typeface="+mn-ea"/>
                  <a:sym typeface="Arial"/>
                </a:rPr>
                <a:t>Gennaio</a:t>
              </a:r>
              <a:r>
                <a:rPr kumimoji="0" lang="fr-FR" sz="700" u="none" strike="noStrike" kern="1200" cap="none" spc="0" normalizeH="0" baseline="0" noProof="0" dirty="0">
                  <a:ln>
                    <a:noFill/>
                  </a:ln>
                  <a:solidFill>
                    <a:srgbClr val="8E0062"/>
                  </a:solidFill>
                  <a:effectLst/>
                  <a:uLnTx/>
                  <a:uFillTx/>
                  <a:latin typeface="Avenir Book" panose="02000503020000020003" pitchFamily="2" charset="0"/>
                  <a:ea typeface="+mn-ea"/>
                  <a:sym typeface="Arial"/>
                </a:rPr>
                <a:t> 2023</a:t>
              </a:r>
            </a:p>
          </p:txBody>
        </p:sp>
        <p:sp>
          <p:nvSpPr>
            <p:cNvPr id="2" name="Rettangolo con angoli arrotondati 1">
              <a:extLst>
                <a:ext uri="{FF2B5EF4-FFF2-40B4-BE49-F238E27FC236}">
                  <a16:creationId xmlns:a16="http://schemas.microsoft.com/office/drawing/2014/main" id="{0D2B5C58-20BB-FD1F-D02F-51F232B910A6}"/>
                </a:ext>
              </a:extLst>
            </p:cNvPr>
            <p:cNvSpPr/>
            <p:nvPr/>
          </p:nvSpPr>
          <p:spPr>
            <a:xfrm>
              <a:off x="3078588" y="3835886"/>
              <a:ext cx="5913586" cy="544364"/>
            </a:xfrm>
            <a:prstGeom prst="roundRect">
              <a:avLst/>
            </a:prstGeom>
            <a:noFill/>
            <a:ln w="15875">
              <a:solidFill>
                <a:srgbClr val="EF7F7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5F71F2FF-A1A6-9D91-DE29-8DFB4A63EAD1}"/>
              </a:ext>
            </a:extLst>
          </p:cNvPr>
          <p:cNvGrpSpPr/>
          <p:nvPr/>
        </p:nvGrpSpPr>
        <p:grpSpPr>
          <a:xfrm>
            <a:off x="3594046" y="932147"/>
            <a:ext cx="5777516" cy="2744586"/>
            <a:chOff x="3167570" y="1080535"/>
            <a:chExt cx="5777516" cy="2744586"/>
          </a:xfrm>
        </p:grpSpPr>
        <p:grpSp>
          <p:nvGrpSpPr>
            <p:cNvPr id="93" name="Groupe 51">
              <a:extLst>
                <a:ext uri="{FF2B5EF4-FFF2-40B4-BE49-F238E27FC236}">
                  <a16:creationId xmlns:a16="http://schemas.microsoft.com/office/drawing/2014/main" id="{46426031-7AC1-A832-9966-2FAEA5167617}"/>
                </a:ext>
              </a:extLst>
            </p:cNvPr>
            <p:cNvGrpSpPr/>
            <p:nvPr/>
          </p:nvGrpSpPr>
          <p:grpSpPr>
            <a:xfrm>
              <a:off x="4348750" y="1080535"/>
              <a:ext cx="3041729" cy="2744586"/>
              <a:chOff x="2251998" y="1838506"/>
              <a:chExt cx="5083735" cy="4669761"/>
            </a:xfrm>
          </p:grpSpPr>
          <p:sp>
            <p:nvSpPr>
              <p:cNvPr id="102" name="Freeform 4">
                <a:extLst>
                  <a:ext uri="{FF2B5EF4-FFF2-40B4-BE49-F238E27FC236}">
                    <a16:creationId xmlns:a16="http://schemas.microsoft.com/office/drawing/2014/main" id="{C7253C0E-024D-D81F-1109-05B15F115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6728" y="2751131"/>
                <a:ext cx="708775" cy="492380"/>
              </a:xfrm>
              <a:custGeom>
                <a:avLst/>
                <a:gdLst/>
                <a:ahLst/>
                <a:cxnLst>
                  <a:cxn ang="0">
                    <a:pos x="983" y="171"/>
                  </a:cxn>
                  <a:cxn ang="0">
                    <a:pos x="892" y="90"/>
                  </a:cxn>
                  <a:cxn ang="0">
                    <a:pos x="791" y="36"/>
                  </a:cxn>
                  <a:cxn ang="0">
                    <a:pos x="691" y="0"/>
                  </a:cxn>
                  <a:cxn ang="0">
                    <a:pos x="579" y="0"/>
                  </a:cxn>
                  <a:cxn ang="0">
                    <a:pos x="467" y="30"/>
                  </a:cxn>
                  <a:cxn ang="0">
                    <a:pos x="344" y="36"/>
                  </a:cxn>
                  <a:cxn ang="0">
                    <a:pos x="192" y="56"/>
                  </a:cxn>
                  <a:cxn ang="0">
                    <a:pos x="119" y="126"/>
                  </a:cxn>
                  <a:cxn ang="0">
                    <a:pos x="0" y="164"/>
                  </a:cxn>
                  <a:cxn ang="0">
                    <a:pos x="136" y="236"/>
                  </a:cxn>
                  <a:cxn ang="0">
                    <a:pos x="194" y="321"/>
                  </a:cxn>
                  <a:cxn ang="0">
                    <a:pos x="301" y="345"/>
                  </a:cxn>
                  <a:cxn ang="0">
                    <a:pos x="372" y="437"/>
                  </a:cxn>
                  <a:cxn ang="0">
                    <a:pos x="472" y="522"/>
                  </a:cxn>
                  <a:cxn ang="0">
                    <a:pos x="581" y="564"/>
                  </a:cxn>
                  <a:cxn ang="0">
                    <a:pos x="706" y="546"/>
                  </a:cxn>
                  <a:cxn ang="0">
                    <a:pos x="732" y="695"/>
                  </a:cxn>
                  <a:cxn ang="0">
                    <a:pos x="838" y="765"/>
                  </a:cxn>
                  <a:cxn ang="0">
                    <a:pos x="942" y="785"/>
                  </a:cxn>
                  <a:cxn ang="0">
                    <a:pos x="970" y="773"/>
                  </a:cxn>
                  <a:cxn ang="0">
                    <a:pos x="987" y="758"/>
                  </a:cxn>
                  <a:cxn ang="0">
                    <a:pos x="990" y="744"/>
                  </a:cxn>
                  <a:cxn ang="0">
                    <a:pos x="1000" y="731"/>
                  </a:cxn>
                  <a:cxn ang="0">
                    <a:pos x="996" y="714"/>
                  </a:cxn>
                  <a:cxn ang="0">
                    <a:pos x="985" y="696"/>
                  </a:cxn>
                  <a:cxn ang="0">
                    <a:pos x="982" y="680"/>
                  </a:cxn>
                  <a:cxn ang="0">
                    <a:pos x="982" y="663"/>
                  </a:cxn>
                  <a:cxn ang="0">
                    <a:pos x="991" y="654"/>
                  </a:cxn>
                  <a:cxn ang="0">
                    <a:pos x="996" y="639"/>
                  </a:cxn>
                  <a:cxn ang="0">
                    <a:pos x="1012" y="620"/>
                  </a:cxn>
                  <a:cxn ang="0">
                    <a:pos x="1032" y="620"/>
                  </a:cxn>
                  <a:cxn ang="0">
                    <a:pos x="1045" y="590"/>
                  </a:cxn>
                  <a:cxn ang="0">
                    <a:pos x="1065" y="473"/>
                  </a:cxn>
                  <a:cxn ang="0">
                    <a:pos x="1113" y="417"/>
                  </a:cxn>
                  <a:cxn ang="0">
                    <a:pos x="1029" y="353"/>
                  </a:cxn>
                  <a:cxn ang="0">
                    <a:pos x="975" y="272"/>
                  </a:cxn>
                  <a:cxn ang="0">
                    <a:pos x="983" y="171"/>
                  </a:cxn>
                </a:cxnLst>
                <a:rect l="0" t="0" r="r" b="b"/>
                <a:pathLst>
                  <a:path w="1113" h="785">
                    <a:moveTo>
                      <a:pt x="983" y="171"/>
                    </a:moveTo>
                    <a:lnTo>
                      <a:pt x="892" y="90"/>
                    </a:lnTo>
                    <a:lnTo>
                      <a:pt x="791" y="36"/>
                    </a:lnTo>
                    <a:lnTo>
                      <a:pt x="691" y="0"/>
                    </a:lnTo>
                    <a:lnTo>
                      <a:pt x="579" y="0"/>
                    </a:lnTo>
                    <a:lnTo>
                      <a:pt x="467" y="30"/>
                    </a:lnTo>
                    <a:lnTo>
                      <a:pt x="344" y="36"/>
                    </a:lnTo>
                    <a:lnTo>
                      <a:pt x="192" y="56"/>
                    </a:lnTo>
                    <a:lnTo>
                      <a:pt x="119" y="126"/>
                    </a:lnTo>
                    <a:lnTo>
                      <a:pt x="0" y="164"/>
                    </a:lnTo>
                    <a:lnTo>
                      <a:pt x="136" y="236"/>
                    </a:lnTo>
                    <a:lnTo>
                      <a:pt x="194" y="321"/>
                    </a:lnTo>
                    <a:lnTo>
                      <a:pt x="301" y="345"/>
                    </a:lnTo>
                    <a:lnTo>
                      <a:pt x="372" y="437"/>
                    </a:lnTo>
                    <a:lnTo>
                      <a:pt x="472" y="522"/>
                    </a:lnTo>
                    <a:lnTo>
                      <a:pt x="581" y="564"/>
                    </a:lnTo>
                    <a:lnTo>
                      <a:pt x="706" y="546"/>
                    </a:lnTo>
                    <a:lnTo>
                      <a:pt x="732" y="695"/>
                    </a:lnTo>
                    <a:lnTo>
                      <a:pt x="838" y="765"/>
                    </a:lnTo>
                    <a:lnTo>
                      <a:pt x="942" y="785"/>
                    </a:lnTo>
                    <a:lnTo>
                      <a:pt x="970" y="773"/>
                    </a:lnTo>
                    <a:lnTo>
                      <a:pt x="987" y="758"/>
                    </a:lnTo>
                    <a:lnTo>
                      <a:pt x="990" y="744"/>
                    </a:lnTo>
                    <a:lnTo>
                      <a:pt x="1000" y="731"/>
                    </a:lnTo>
                    <a:lnTo>
                      <a:pt x="996" y="714"/>
                    </a:lnTo>
                    <a:lnTo>
                      <a:pt x="985" y="696"/>
                    </a:lnTo>
                    <a:lnTo>
                      <a:pt x="982" y="680"/>
                    </a:lnTo>
                    <a:lnTo>
                      <a:pt x="982" y="663"/>
                    </a:lnTo>
                    <a:lnTo>
                      <a:pt x="991" y="654"/>
                    </a:lnTo>
                    <a:lnTo>
                      <a:pt x="996" y="639"/>
                    </a:lnTo>
                    <a:lnTo>
                      <a:pt x="1012" y="620"/>
                    </a:lnTo>
                    <a:lnTo>
                      <a:pt x="1032" y="620"/>
                    </a:lnTo>
                    <a:lnTo>
                      <a:pt x="1045" y="590"/>
                    </a:lnTo>
                    <a:lnTo>
                      <a:pt x="1065" y="473"/>
                    </a:lnTo>
                    <a:lnTo>
                      <a:pt x="1113" y="417"/>
                    </a:lnTo>
                    <a:lnTo>
                      <a:pt x="1029" y="353"/>
                    </a:lnTo>
                    <a:lnTo>
                      <a:pt x="975" y="272"/>
                    </a:lnTo>
                    <a:lnTo>
                      <a:pt x="983" y="171"/>
                    </a:lnTo>
                    <a:close/>
                  </a:path>
                </a:pathLst>
              </a:custGeom>
              <a:solidFill>
                <a:srgbClr val="8E0062"/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3" name="Freeform 22">
                <a:extLst>
                  <a:ext uri="{FF2B5EF4-FFF2-40B4-BE49-F238E27FC236}">
                    <a16:creationId xmlns:a16="http://schemas.microsoft.com/office/drawing/2014/main" id="{E9010C67-693E-2180-8004-D8A440A8C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7689" y="1838506"/>
                <a:ext cx="1590037" cy="1897384"/>
              </a:xfrm>
              <a:custGeom>
                <a:avLst/>
                <a:gdLst/>
                <a:ahLst/>
                <a:cxnLst>
                  <a:cxn ang="0">
                    <a:pos x="756" y="101"/>
                  </a:cxn>
                  <a:cxn ang="0">
                    <a:pos x="828" y="210"/>
                  </a:cxn>
                  <a:cxn ang="0">
                    <a:pos x="819" y="329"/>
                  </a:cxn>
                  <a:cxn ang="0">
                    <a:pos x="891" y="475"/>
                  </a:cxn>
                  <a:cxn ang="0">
                    <a:pos x="675" y="511"/>
                  </a:cxn>
                  <a:cxn ang="0">
                    <a:pos x="504" y="511"/>
                  </a:cxn>
                  <a:cxn ang="0">
                    <a:pos x="378" y="566"/>
                  </a:cxn>
                  <a:cxn ang="0">
                    <a:pos x="378" y="831"/>
                  </a:cxn>
                  <a:cxn ang="0">
                    <a:pos x="315" y="1132"/>
                  </a:cxn>
                  <a:cxn ang="0">
                    <a:pos x="162" y="1259"/>
                  </a:cxn>
                  <a:cxn ang="0">
                    <a:pos x="90" y="1423"/>
                  </a:cxn>
                  <a:cxn ang="0">
                    <a:pos x="90" y="1586"/>
                  </a:cxn>
                  <a:cxn ang="0">
                    <a:pos x="0" y="1723"/>
                  </a:cxn>
                  <a:cxn ang="0">
                    <a:pos x="135" y="1868"/>
                  </a:cxn>
                  <a:cxn ang="0">
                    <a:pos x="73" y="2036"/>
                  </a:cxn>
                  <a:cxn ang="0">
                    <a:pos x="60" y="2087"/>
                  </a:cxn>
                  <a:cxn ang="0">
                    <a:pos x="72" y="2126"/>
                  </a:cxn>
                  <a:cxn ang="0">
                    <a:pos x="96" y="2141"/>
                  </a:cxn>
                  <a:cxn ang="0">
                    <a:pos x="109" y="2158"/>
                  </a:cxn>
                  <a:cxn ang="0">
                    <a:pos x="88" y="2189"/>
                  </a:cxn>
                  <a:cxn ang="0">
                    <a:pos x="198" y="2324"/>
                  </a:cxn>
                  <a:cxn ang="0">
                    <a:pos x="414" y="2379"/>
                  </a:cxn>
                  <a:cxn ang="0">
                    <a:pos x="553" y="2617"/>
                  </a:cxn>
                  <a:cxn ang="0">
                    <a:pos x="495" y="2898"/>
                  </a:cxn>
                  <a:cxn ang="0">
                    <a:pos x="621" y="2962"/>
                  </a:cxn>
                  <a:cxn ang="0">
                    <a:pos x="864" y="2944"/>
                  </a:cxn>
                  <a:cxn ang="0">
                    <a:pos x="1116" y="3017"/>
                  </a:cxn>
                  <a:cxn ang="0">
                    <a:pos x="1431" y="3017"/>
                  </a:cxn>
                  <a:cxn ang="0">
                    <a:pos x="1863" y="2935"/>
                  </a:cxn>
                  <a:cxn ang="0">
                    <a:pos x="1935" y="2826"/>
                  </a:cxn>
                  <a:cxn ang="0">
                    <a:pos x="2033" y="2634"/>
                  </a:cxn>
                  <a:cxn ang="0">
                    <a:pos x="2231" y="2552"/>
                  </a:cxn>
                  <a:cxn ang="0">
                    <a:pos x="2033" y="2397"/>
                  </a:cxn>
                  <a:cxn ang="0">
                    <a:pos x="1809" y="2187"/>
                  </a:cxn>
                  <a:cxn ang="0">
                    <a:pos x="1746" y="1941"/>
                  </a:cxn>
                  <a:cxn ang="0">
                    <a:pos x="1970" y="1859"/>
                  </a:cxn>
                  <a:cxn ang="0">
                    <a:pos x="2236" y="1720"/>
                  </a:cxn>
                  <a:cxn ang="0">
                    <a:pos x="2411" y="1650"/>
                  </a:cxn>
                  <a:cxn ang="0">
                    <a:pos x="2489" y="1536"/>
                  </a:cxn>
                  <a:cxn ang="0">
                    <a:pos x="2408" y="1251"/>
                  </a:cxn>
                  <a:cxn ang="0">
                    <a:pos x="2306" y="1032"/>
                  </a:cxn>
                  <a:cxn ang="0">
                    <a:pos x="2315" y="782"/>
                  </a:cxn>
                  <a:cxn ang="0">
                    <a:pos x="2314" y="505"/>
                  </a:cxn>
                  <a:cxn ang="0">
                    <a:pos x="2187" y="475"/>
                  </a:cxn>
                  <a:cxn ang="0">
                    <a:pos x="2052" y="320"/>
                  </a:cxn>
                  <a:cxn ang="0">
                    <a:pos x="1818" y="192"/>
                  </a:cxn>
                  <a:cxn ang="0">
                    <a:pos x="1737" y="329"/>
                  </a:cxn>
                  <a:cxn ang="0">
                    <a:pos x="1548" y="384"/>
                  </a:cxn>
                  <a:cxn ang="0">
                    <a:pos x="1368" y="420"/>
                  </a:cxn>
                  <a:cxn ang="0">
                    <a:pos x="1431" y="265"/>
                  </a:cxn>
                  <a:cxn ang="0">
                    <a:pos x="1350" y="195"/>
                  </a:cxn>
                  <a:cxn ang="0">
                    <a:pos x="1188" y="201"/>
                  </a:cxn>
                  <a:cxn ang="0">
                    <a:pos x="1144" y="106"/>
                  </a:cxn>
                  <a:cxn ang="0">
                    <a:pos x="900" y="37"/>
                  </a:cxn>
                </a:cxnLst>
                <a:rect l="0" t="0" r="r" b="b"/>
                <a:pathLst>
                  <a:path w="2495" h="3017">
                    <a:moveTo>
                      <a:pt x="777" y="0"/>
                    </a:moveTo>
                    <a:lnTo>
                      <a:pt x="756" y="101"/>
                    </a:lnTo>
                    <a:lnTo>
                      <a:pt x="845" y="147"/>
                    </a:lnTo>
                    <a:lnTo>
                      <a:pt x="828" y="210"/>
                    </a:lnTo>
                    <a:lnTo>
                      <a:pt x="774" y="238"/>
                    </a:lnTo>
                    <a:lnTo>
                      <a:pt x="819" y="329"/>
                    </a:lnTo>
                    <a:lnTo>
                      <a:pt x="900" y="366"/>
                    </a:lnTo>
                    <a:lnTo>
                      <a:pt x="891" y="475"/>
                    </a:lnTo>
                    <a:lnTo>
                      <a:pt x="729" y="439"/>
                    </a:lnTo>
                    <a:lnTo>
                      <a:pt x="675" y="511"/>
                    </a:lnTo>
                    <a:lnTo>
                      <a:pt x="585" y="494"/>
                    </a:lnTo>
                    <a:lnTo>
                      <a:pt x="504" y="511"/>
                    </a:lnTo>
                    <a:lnTo>
                      <a:pt x="405" y="511"/>
                    </a:lnTo>
                    <a:lnTo>
                      <a:pt x="378" y="566"/>
                    </a:lnTo>
                    <a:lnTo>
                      <a:pt x="387" y="675"/>
                    </a:lnTo>
                    <a:lnTo>
                      <a:pt x="378" y="831"/>
                    </a:lnTo>
                    <a:lnTo>
                      <a:pt x="342" y="967"/>
                    </a:lnTo>
                    <a:lnTo>
                      <a:pt x="315" y="1132"/>
                    </a:lnTo>
                    <a:lnTo>
                      <a:pt x="297" y="1249"/>
                    </a:lnTo>
                    <a:lnTo>
                      <a:pt x="162" y="1259"/>
                    </a:lnTo>
                    <a:lnTo>
                      <a:pt x="36" y="1313"/>
                    </a:lnTo>
                    <a:lnTo>
                      <a:pt x="90" y="1423"/>
                    </a:lnTo>
                    <a:lnTo>
                      <a:pt x="144" y="1505"/>
                    </a:lnTo>
                    <a:lnTo>
                      <a:pt x="90" y="1586"/>
                    </a:lnTo>
                    <a:lnTo>
                      <a:pt x="9" y="1622"/>
                    </a:lnTo>
                    <a:lnTo>
                      <a:pt x="0" y="1723"/>
                    </a:lnTo>
                    <a:lnTo>
                      <a:pt x="54" y="1805"/>
                    </a:lnTo>
                    <a:lnTo>
                      <a:pt x="135" y="1868"/>
                    </a:lnTo>
                    <a:lnTo>
                      <a:pt x="90" y="1923"/>
                    </a:lnTo>
                    <a:lnTo>
                      <a:pt x="73" y="2036"/>
                    </a:lnTo>
                    <a:lnTo>
                      <a:pt x="57" y="2069"/>
                    </a:lnTo>
                    <a:lnTo>
                      <a:pt x="60" y="2087"/>
                    </a:lnTo>
                    <a:lnTo>
                      <a:pt x="60" y="2104"/>
                    </a:lnTo>
                    <a:lnTo>
                      <a:pt x="72" y="2126"/>
                    </a:lnTo>
                    <a:lnTo>
                      <a:pt x="82" y="2128"/>
                    </a:lnTo>
                    <a:lnTo>
                      <a:pt x="96" y="2141"/>
                    </a:lnTo>
                    <a:lnTo>
                      <a:pt x="108" y="2144"/>
                    </a:lnTo>
                    <a:lnTo>
                      <a:pt x="109" y="2158"/>
                    </a:lnTo>
                    <a:lnTo>
                      <a:pt x="99" y="2168"/>
                    </a:lnTo>
                    <a:lnTo>
                      <a:pt x="88" y="2189"/>
                    </a:lnTo>
                    <a:lnTo>
                      <a:pt x="88" y="2209"/>
                    </a:lnTo>
                    <a:lnTo>
                      <a:pt x="198" y="2324"/>
                    </a:lnTo>
                    <a:lnTo>
                      <a:pt x="288" y="2379"/>
                    </a:lnTo>
                    <a:lnTo>
                      <a:pt x="414" y="2379"/>
                    </a:lnTo>
                    <a:lnTo>
                      <a:pt x="540" y="2443"/>
                    </a:lnTo>
                    <a:lnTo>
                      <a:pt x="553" y="2617"/>
                    </a:lnTo>
                    <a:lnTo>
                      <a:pt x="495" y="2771"/>
                    </a:lnTo>
                    <a:lnTo>
                      <a:pt x="495" y="2898"/>
                    </a:lnTo>
                    <a:lnTo>
                      <a:pt x="495" y="2990"/>
                    </a:lnTo>
                    <a:lnTo>
                      <a:pt x="621" y="2962"/>
                    </a:lnTo>
                    <a:lnTo>
                      <a:pt x="730" y="2946"/>
                    </a:lnTo>
                    <a:lnTo>
                      <a:pt x="864" y="2944"/>
                    </a:lnTo>
                    <a:lnTo>
                      <a:pt x="990" y="2981"/>
                    </a:lnTo>
                    <a:lnTo>
                      <a:pt x="1116" y="3017"/>
                    </a:lnTo>
                    <a:lnTo>
                      <a:pt x="1269" y="2990"/>
                    </a:lnTo>
                    <a:lnTo>
                      <a:pt x="1431" y="3017"/>
                    </a:lnTo>
                    <a:lnTo>
                      <a:pt x="1647" y="2990"/>
                    </a:lnTo>
                    <a:lnTo>
                      <a:pt x="1863" y="2935"/>
                    </a:lnTo>
                    <a:lnTo>
                      <a:pt x="1989" y="2907"/>
                    </a:lnTo>
                    <a:lnTo>
                      <a:pt x="1935" y="2826"/>
                    </a:lnTo>
                    <a:lnTo>
                      <a:pt x="1926" y="2726"/>
                    </a:lnTo>
                    <a:lnTo>
                      <a:pt x="2033" y="2634"/>
                    </a:lnTo>
                    <a:lnTo>
                      <a:pt x="2151" y="2607"/>
                    </a:lnTo>
                    <a:lnTo>
                      <a:pt x="2231" y="2552"/>
                    </a:lnTo>
                    <a:lnTo>
                      <a:pt x="2133" y="2480"/>
                    </a:lnTo>
                    <a:lnTo>
                      <a:pt x="2033" y="2397"/>
                    </a:lnTo>
                    <a:lnTo>
                      <a:pt x="1881" y="2279"/>
                    </a:lnTo>
                    <a:lnTo>
                      <a:pt x="1809" y="2187"/>
                    </a:lnTo>
                    <a:lnTo>
                      <a:pt x="1773" y="2069"/>
                    </a:lnTo>
                    <a:lnTo>
                      <a:pt x="1746" y="1941"/>
                    </a:lnTo>
                    <a:lnTo>
                      <a:pt x="1863" y="1850"/>
                    </a:lnTo>
                    <a:lnTo>
                      <a:pt x="1970" y="1859"/>
                    </a:lnTo>
                    <a:lnTo>
                      <a:pt x="2079" y="1778"/>
                    </a:lnTo>
                    <a:lnTo>
                      <a:pt x="2236" y="1720"/>
                    </a:lnTo>
                    <a:lnTo>
                      <a:pt x="2322" y="1641"/>
                    </a:lnTo>
                    <a:lnTo>
                      <a:pt x="2411" y="1650"/>
                    </a:lnTo>
                    <a:lnTo>
                      <a:pt x="2495" y="1647"/>
                    </a:lnTo>
                    <a:lnTo>
                      <a:pt x="2489" y="1536"/>
                    </a:lnTo>
                    <a:lnTo>
                      <a:pt x="2403" y="1383"/>
                    </a:lnTo>
                    <a:lnTo>
                      <a:pt x="2408" y="1251"/>
                    </a:lnTo>
                    <a:lnTo>
                      <a:pt x="2367" y="1108"/>
                    </a:lnTo>
                    <a:lnTo>
                      <a:pt x="2306" y="1032"/>
                    </a:lnTo>
                    <a:lnTo>
                      <a:pt x="2259" y="862"/>
                    </a:lnTo>
                    <a:lnTo>
                      <a:pt x="2315" y="782"/>
                    </a:lnTo>
                    <a:lnTo>
                      <a:pt x="2338" y="688"/>
                    </a:lnTo>
                    <a:lnTo>
                      <a:pt x="2314" y="505"/>
                    </a:lnTo>
                    <a:lnTo>
                      <a:pt x="2250" y="494"/>
                    </a:lnTo>
                    <a:lnTo>
                      <a:pt x="2187" y="475"/>
                    </a:lnTo>
                    <a:lnTo>
                      <a:pt x="2151" y="338"/>
                    </a:lnTo>
                    <a:lnTo>
                      <a:pt x="2052" y="320"/>
                    </a:lnTo>
                    <a:lnTo>
                      <a:pt x="1944" y="219"/>
                    </a:lnTo>
                    <a:lnTo>
                      <a:pt x="1818" y="192"/>
                    </a:lnTo>
                    <a:lnTo>
                      <a:pt x="1773" y="256"/>
                    </a:lnTo>
                    <a:lnTo>
                      <a:pt x="1737" y="329"/>
                    </a:lnTo>
                    <a:lnTo>
                      <a:pt x="1592" y="320"/>
                    </a:lnTo>
                    <a:lnTo>
                      <a:pt x="1548" y="384"/>
                    </a:lnTo>
                    <a:lnTo>
                      <a:pt x="1468" y="405"/>
                    </a:lnTo>
                    <a:lnTo>
                      <a:pt x="1368" y="420"/>
                    </a:lnTo>
                    <a:lnTo>
                      <a:pt x="1349" y="356"/>
                    </a:lnTo>
                    <a:lnTo>
                      <a:pt x="1431" y="265"/>
                    </a:lnTo>
                    <a:lnTo>
                      <a:pt x="1431" y="183"/>
                    </a:lnTo>
                    <a:lnTo>
                      <a:pt x="1350" y="195"/>
                    </a:lnTo>
                    <a:lnTo>
                      <a:pt x="1286" y="228"/>
                    </a:lnTo>
                    <a:lnTo>
                      <a:pt x="1188" y="201"/>
                    </a:lnTo>
                    <a:lnTo>
                      <a:pt x="1107" y="174"/>
                    </a:lnTo>
                    <a:lnTo>
                      <a:pt x="1144" y="106"/>
                    </a:lnTo>
                    <a:lnTo>
                      <a:pt x="1008" y="37"/>
                    </a:lnTo>
                    <a:lnTo>
                      <a:pt x="900" y="37"/>
                    </a:lnTo>
                    <a:lnTo>
                      <a:pt x="777" y="0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4" name="Freeform 23">
                <a:extLst>
                  <a:ext uri="{FF2B5EF4-FFF2-40B4-BE49-F238E27FC236}">
                    <a16:creationId xmlns:a16="http://schemas.microsoft.com/office/drawing/2014/main" id="{7BA2F38C-B1D9-3A81-A430-76F0AE06E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577" y="2854626"/>
                <a:ext cx="2242363" cy="2085553"/>
              </a:xfrm>
              <a:custGeom>
                <a:avLst/>
                <a:gdLst/>
                <a:ahLst/>
                <a:cxnLst>
                  <a:cxn ang="0">
                    <a:pos x="1789" y="164"/>
                  </a:cxn>
                  <a:cxn ang="0">
                    <a:pos x="1639" y="418"/>
                  </a:cxn>
                  <a:cxn ang="0">
                    <a:pos x="1348" y="656"/>
                  </a:cxn>
                  <a:cxn ang="0">
                    <a:pos x="1025" y="656"/>
                  </a:cxn>
                  <a:cxn ang="0">
                    <a:pos x="908" y="729"/>
                  </a:cxn>
                  <a:cxn ang="0">
                    <a:pos x="899" y="993"/>
                  </a:cxn>
                  <a:cxn ang="0">
                    <a:pos x="575" y="993"/>
                  </a:cxn>
                  <a:cxn ang="0">
                    <a:pos x="387" y="866"/>
                  </a:cxn>
                  <a:cxn ang="0">
                    <a:pos x="89" y="930"/>
                  </a:cxn>
                  <a:cxn ang="0">
                    <a:pos x="161" y="1066"/>
                  </a:cxn>
                  <a:cxn ang="0">
                    <a:pos x="35" y="1203"/>
                  </a:cxn>
                  <a:cxn ang="0">
                    <a:pos x="332" y="1293"/>
                  </a:cxn>
                  <a:cxn ang="0">
                    <a:pos x="638" y="1385"/>
                  </a:cxn>
                  <a:cxn ang="0">
                    <a:pos x="782" y="1485"/>
                  </a:cxn>
                  <a:cxn ang="0">
                    <a:pos x="801" y="1803"/>
                  </a:cxn>
                  <a:cxn ang="0">
                    <a:pos x="1025" y="2014"/>
                  </a:cxn>
                  <a:cxn ang="0">
                    <a:pos x="935" y="2377"/>
                  </a:cxn>
                  <a:cxn ang="0">
                    <a:pos x="842" y="2959"/>
                  </a:cxn>
                  <a:cxn ang="0">
                    <a:pos x="1133" y="3197"/>
                  </a:cxn>
                  <a:cxn ang="0">
                    <a:pos x="1511" y="3162"/>
                  </a:cxn>
                  <a:cxn ang="0">
                    <a:pos x="1688" y="3203"/>
                  </a:cxn>
                  <a:cxn ang="0">
                    <a:pos x="1748" y="3221"/>
                  </a:cxn>
                  <a:cxn ang="0">
                    <a:pos x="1784" y="3239"/>
                  </a:cxn>
                  <a:cxn ang="0">
                    <a:pos x="1784" y="3263"/>
                  </a:cxn>
                  <a:cxn ang="0">
                    <a:pos x="1997" y="3316"/>
                  </a:cxn>
                  <a:cxn ang="0">
                    <a:pos x="2167" y="3025"/>
                  </a:cxn>
                  <a:cxn ang="0">
                    <a:pos x="2581" y="2951"/>
                  </a:cxn>
                  <a:cxn ang="0">
                    <a:pos x="2966" y="3109"/>
                  </a:cxn>
                  <a:cxn ang="0">
                    <a:pos x="3318" y="2843"/>
                  </a:cxn>
                  <a:cxn ang="0">
                    <a:pos x="3345" y="2678"/>
                  </a:cxn>
                  <a:cxn ang="0">
                    <a:pos x="3173" y="2332"/>
                  </a:cxn>
                  <a:cxn ang="0">
                    <a:pos x="3228" y="2069"/>
                  </a:cxn>
                  <a:cxn ang="0">
                    <a:pos x="3165" y="1813"/>
                  </a:cxn>
                  <a:cxn ang="0">
                    <a:pos x="3156" y="1622"/>
                  </a:cxn>
                  <a:cxn ang="0">
                    <a:pos x="3463" y="1374"/>
                  </a:cxn>
                  <a:cxn ang="0">
                    <a:pos x="3508" y="825"/>
                  </a:cxn>
                  <a:cxn ang="0">
                    <a:pos x="3164" y="708"/>
                  </a:cxn>
                  <a:cxn ang="0">
                    <a:pos x="3022" y="593"/>
                  </a:cxn>
                  <a:cxn ang="0">
                    <a:pos x="2980" y="594"/>
                  </a:cxn>
                  <a:cxn ang="0">
                    <a:pos x="2833" y="602"/>
                  </a:cxn>
                  <a:cxn ang="0">
                    <a:pos x="2572" y="401"/>
                  </a:cxn>
                  <a:cxn ang="0">
                    <a:pos x="2293" y="182"/>
                  </a:cxn>
                  <a:cxn ang="0">
                    <a:pos x="1993" y="0"/>
                  </a:cxn>
                </a:cxnLst>
                <a:rect l="0" t="0" r="r" b="b"/>
                <a:pathLst>
                  <a:path w="3519" h="3316">
                    <a:moveTo>
                      <a:pt x="1993" y="0"/>
                    </a:moveTo>
                    <a:lnTo>
                      <a:pt x="1861" y="18"/>
                    </a:lnTo>
                    <a:lnTo>
                      <a:pt x="1789" y="164"/>
                    </a:lnTo>
                    <a:lnTo>
                      <a:pt x="1798" y="283"/>
                    </a:lnTo>
                    <a:lnTo>
                      <a:pt x="1735" y="374"/>
                    </a:lnTo>
                    <a:lnTo>
                      <a:pt x="1639" y="418"/>
                    </a:lnTo>
                    <a:lnTo>
                      <a:pt x="1537" y="464"/>
                    </a:lnTo>
                    <a:lnTo>
                      <a:pt x="1439" y="528"/>
                    </a:lnTo>
                    <a:lnTo>
                      <a:pt x="1348" y="656"/>
                    </a:lnTo>
                    <a:lnTo>
                      <a:pt x="1231" y="684"/>
                    </a:lnTo>
                    <a:lnTo>
                      <a:pt x="1168" y="675"/>
                    </a:lnTo>
                    <a:lnTo>
                      <a:pt x="1025" y="656"/>
                    </a:lnTo>
                    <a:lnTo>
                      <a:pt x="962" y="519"/>
                    </a:lnTo>
                    <a:lnTo>
                      <a:pt x="871" y="568"/>
                    </a:lnTo>
                    <a:lnTo>
                      <a:pt x="908" y="729"/>
                    </a:lnTo>
                    <a:lnTo>
                      <a:pt x="890" y="847"/>
                    </a:lnTo>
                    <a:lnTo>
                      <a:pt x="953" y="957"/>
                    </a:lnTo>
                    <a:lnTo>
                      <a:pt x="899" y="993"/>
                    </a:lnTo>
                    <a:lnTo>
                      <a:pt x="818" y="939"/>
                    </a:lnTo>
                    <a:lnTo>
                      <a:pt x="701" y="957"/>
                    </a:lnTo>
                    <a:lnTo>
                      <a:pt x="575" y="993"/>
                    </a:lnTo>
                    <a:lnTo>
                      <a:pt x="504" y="939"/>
                    </a:lnTo>
                    <a:lnTo>
                      <a:pt x="458" y="838"/>
                    </a:lnTo>
                    <a:lnTo>
                      <a:pt x="387" y="866"/>
                    </a:lnTo>
                    <a:lnTo>
                      <a:pt x="297" y="939"/>
                    </a:lnTo>
                    <a:lnTo>
                      <a:pt x="189" y="902"/>
                    </a:lnTo>
                    <a:lnTo>
                      <a:pt x="89" y="930"/>
                    </a:lnTo>
                    <a:lnTo>
                      <a:pt x="0" y="1002"/>
                    </a:lnTo>
                    <a:lnTo>
                      <a:pt x="54" y="1075"/>
                    </a:lnTo>
                    <a:lnTo>
                      <a:pt x="161" y="1066"/>
                    </a:lnTo>
                    <a:lnTo>
                      <a:pt x="117" y="1112"/>
                    </a:lnTo>
                    <a:lnTo>
                      <a:pt x="63" y="1148"/>
                    </a:lnTo>
                    <a:lnTo>
                      <a:pt x="35" y="1203"/>
                    </a:lnTo>
                    <a:lnTo>
                      <a:pt x="89" y="1275"/>
                    </a:lnTo>
                    <a:lnTo>
                      <a:pt x="261" y="1230"/>
                    </a:lnTo>
                    <a:lnTo>
                      <a:pt x="332" y="1293"/>
                    </a:lnTo>
                    <a:lnTo>
                      <a:pt x="486" y="1330"/>
                    </a:lnTo>
                    <a:lnTo>
                      <a:pt x="584" y="1321"/>
                    </a:lnTo>
                    <a:lnTo>
                      <a:pt x="638" y="1385"/>
                    </a:lnTo>
                    <a:lnTo>
                      <a:pt x="621" y="1458"/>
                    </a:lnTo>
                    <a:lnTo>
                      <a:pt x="728" y="1458"/>
                    </a:lnTo>
                    <a:lnTo>
                      <a:pt x="782" y="1485"/>
                    </a:lnTo>
                    <a:lnTo>
                      <a:pt x="701" y="1576"/>
                    </a:lnTo>
                    <a:lnTo>
                      <a:pt x="746" y="1676"/>
                    </a:lnTo>
                    <a:lnTo>
                      <a:pt x="801" y="1803"/>
                    </a:lnTo>
                    <a:lnTo>
                      <a:pt x="899" y="1849"/>
                    </a:lnTo>
                    <a:lnTo>
                      <a:pt x="971" y="1895"/>
                    </a:lnTo>
                    <a:lnTo>
                      <a:pt x="1025" y="2014"/>
                    </a:lnTo>
                    <a:lnTo>
                      <a:pt x="1025" y="2141"/>
                    </a:lnTo>
                    <a:lnTo>
                      <a:pt x="971" y="2186"/>
                    </a:lnTo>
                    <a:lnTo>
                      <a:pt x="935" y="2377"/>
                    </a:lnTo>
                    <a:lnTo>
                      <a:pt x="953" y="2560"/>
                    </a:lnTo>
                    <a:lnTo>
                      <a:pt x="881" y="2742"/>
                    </a:lnTo>
                    <a:lnTo>
                      <a:pt x="842" y="2959"/>
                    </a:lnTo>
                    <a:lnTo>
                      <a:pt x="864" y="3070"/>
                    </a:lnTo>
                    <a:lnTo>
                      <a:pt x="953" y="3107"/>
                    </a:lnTo>
                    <a:lnTo>
                      <a:pt x="1133" y="3197"/>
                    </a:lnTo>
                    <a:lnTo>
                      <a:pt x="1259" y="3197"/>
                    </a:lnTo>
                    <a:lnTo>
                      <a:pt x="1423" y="3227"/>
                    </a:lnTo>
                    <a:lnTo>
                      <a:pt x="1511" y="3162"/>
                    </a:lnTo>
                    <a:lnTo>
                      <a:pt x="1619" y="3197"/>
                    </a:lnTo>
                    <a:lnTo>
                      <a:pt x="1645" y="3207"/>
                    </a:lnTo>
                    <a:lnTo>
                      <a:pt x="1688" y="3203"/>
                    </a:lnTo>
                    <a:lnTo>
                      <a:pt x="1709" y="3219"/>
                    </a:lnTo>
                    <a:lnTo>
                      <a:pt x="1735" y="3222"/>
                    </a:lnTo>
                    <a:lnTo>
                      <a:pt x="1748" y="3221"/>
                    </a:lnTo>
                    <a:lnTo>
                      <a:pt x="1760" y="3230"/>
                    </a:lnTo>
                    <a:lnTo>
                      <a:pt x="1783" y="3230"/>
                    </a:lnTo>
                    <a:lnTo>
                      <a:pt x="1784" y="3239"/>
                    </a:lnTo>
                    <a:lnTo>
                      <a:pt x="1790" y="3243"/>
                    </a:lnTo>
                    <a:lnTo>
                      <a:pt x="1783" y="3249"/>
                    </a:lnTo>
                    <a:lnTo>
                      <a:pt x="1784" y="3263"/>
                    </a:lnTo>
                    <a:lnTo>
                      <a:pt x="1811" y="3282"/>
                    </a:lnTo>
                    <a:lnTo>
                      <a:pt x="1843" y="3316"/>
                    </a:lnTo>
                    <a:lnTo>
                      <a:pt x="1997" y="3316"/>
                    </a:lnTo>
                    <a:lnTo>
                      <a:pt x="2140" y="3298"/>
                    </a:lnTo>
                    <a:lnTo>
                      <a:pt x="2104" y="3162"/>
                    </a:lnTo>
                    <a:lnTo>
                      <a:pt x="2167" y="3025"/>
                    </a:lnTo>
                    <a:lnTo>
                      <a:pt x="2288" y="2959"/>
                    </a:lnTo>
                    <a:lnTo>
                      <a:pt x="2427" y="2915"/>
                    </a:lnTo>
                    <a:lnTo>
                      <a:pt x="2581" y="2951"/>
                    </a:lnTo>
                    <a:lnTo>
                      <a:pt x="2733" y="2979"/>
                    </a:lnTo>
                    <a:lnTo>
                      <a:pt x="2859" y="3006"/>
                    </a:lnTo>
                    <a:lnTo>
                      <a:pt x="2966" y="3109"/>
                    </a:lnTo>
                    <a:lnTo>
                      <a:pt x="3102" y="3116"/>
                    </a:lnTo>
                    <a:lnTo>
                      <a:pt x="3192" y="2970"/>
                    </a:lnTo>
                    <a:lnTo>
                      <a:pt x="3318" y="2843"/>
                    </a:lnTo>
                    <a:lnTo>
                      <a:pt x="3444" y="2815"/>
                    </a:lnTo>
                    <a:lnTo>
                      <a:pt x="3462" y="2687"/>
                    </a:lnTo>
                    <a:lnTo>
                      <a:pt x="3345" y="2678"/>
                    </a:lnTo>
                    <a:lnTo>
                      <a:pt x="3219" y="2597"/>
                    </a:lnTo>
                    <a:lnTo>
                      <a:pt x="3255" y="2451"/>
                    </a:lnTo>
                    <a:lnTo>
                      <a:pt x="3173" y="2332"/>
                    </a:lnTo>
                    <a:lnTo>
                      <a:pt x="3291" y="2260"/>
                    </a:lnTo>
                    <a:lnTo>
                      <a:pt x="3291" y="2177"/>
                    </a:lnTo>
                    <a:lnTo>
                      <a:pt x="3228" y="2069"/>
                    </a:lnTo>
                    <a:lnTo>
                      <a:pt x="3237" y="1995"/>
                    </a:lnTo>
                    <a:lnTo>
                      <a:pt x="3219" y="1877"/>
                    </a:lnTo>
                    <a:lnTo>
                      <a:pt x="3165" y="1813"/>
                    </a:lnTo>
                    <a:lnTo>
                      <a:pt x="3030" y="1867"/>
                    </a:lnTo>
                    <a:lnTo>
                      <a:pt x="3057" y="1722"/>
                    </a:lnTo>
                    <a:lnTo>
                      <a:pt x="3156" y="1622"/>
                    </a:lnTo>
                    <a:lnTo>
                      <a:pt x="3264" y="1495"/>
                    </a:lnTo>
                    <a:lnTo>
                      <a:pt x="3408" y="1403"/>
                    </a:lnTo>
                    <a:lnTo>
                      <a:pt x="3463" y="1374"/>
                    </a:lnTo>
                    <a:lnTo>
                      <a:pt x="3463" y="1158"/>
                    </a:lnTo>
                    <a:lnTo>
                      <a:pt x="3519" y="1008"/>
                    </a:lnTo>
                    <a:lnTo>
                      <a:pt x="3508" y="825"/>
                    </a:lnTo>
                    <a:lnTo>
                      <a:pt x="3379" y="761"/>
                    </a:lnTo>
                    <a:lnTo>
                      <a:pt x="3256" y="764"/>
                    </a:lnTo>
                    <a:lnTo>
                      <a:pt x="3164" y="708"/>
                    </a:lnTo>
                    <a:lnTo>
                      <a:pt x="3056" y="594"/>
                    </a:lnTo>
                    <a:lnTo>
                      <a:pt x="3040" y="585"/>
                    </a:lnTo>
                    <a:lnTo>
                      <a:pt x="3022" y="593"/>
                    </a:lnTo>
                    <a:lnTo>
                      <a:pt x="3002" y="593"/>
                    </a:lnTo>
                    <a:lnTo>
                      <a:pt x="2984" y="584"/>
                    </a:lnTo>
                    <a:lnTo>
                      <a:pt x="2980" y="594"/>
                    </a:lnTo>
                    <a:lnTo>
                      <a:pt x="2965" y="608"/>
                    </a:lnTo>
                    <a:lnTo>
                      <a:pt x="2932" y="620"/>
                    </a:lnTo>
                    <a:lnTo>
                      <a:pt x="2833" y="602"/>
                    </a:lnTo>
                    <a:lnTo>
                      <a:pt x="2724" y="528"/>
                    </a:lnTo>
                    <a:lnTo>
                      <a:pt x="2698" y="383"/>
                    </a:lnTo>
                    <a:lnTo>
                      <a:pt x="2572" y="401"/>
                    </a:lnTo>
                    <a:lnTo>
                      <a:pt x="2464" y="356"/>
                    </a:lnTo>
                    <a:lnTo>
                      <a:pt x="2364" y="273"/>
                    </a:lnTo>
                    <a:lnTo>
                      <a:pt x="2293" y="182"/>
                    </a:lnTo>
                    <a:lnTo>
                      <a:pt x="2185" y="155"/>
                    </a:lnTo>
                    <a:lnTo>
                      <a:pt x="2131" y="73"/>
                    </a:lnTo>
                    <a:lnTo>
                      <a:pt x="1993" y="0"/>
                    </a:lnTo>
                    <a:close/>
                  </a:path>
                </a:pathLst>
              </a:custGeom>
              <a:solidFill>
                <a:srgbClr val="8E0062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5" name="Freeform 28">
                <a:extLst>
                  <a:ext uri="{FF2B5EF4-FFF2-40B4-BE49-F238E27FC236}">
                    <a16:creationId xmlns:a16="http://schemas.microsoft.com/office/drawing/2014/main" id="{F3F8CCFB-D017-2FB6-8ED7-8548AC04D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8629" y="4617155"/>
                <a:ext cx="2214136" cy="1891112"/>
              </a:xfrm>
              <a:custGeom>
                <a:avLst/>
                <a:gdLst/>
                <a:ahLst/>
                <a:cxnLst>
                  <a:cxn ang="0">
                    <a:pos x="243" y="68"/>
                  </a:cxn>
                  <a:cxn ang="0">
                    <a:pos x="99" y="178"/>
                  </a:cxn>
                  <a:cxn ang="0">
                    <a:pos x="0" y="296"/>
                  </a:cxn>
                  <a:cxn ang="0">
                    <a:pos x="82" y="451"/>
                  </a:cxn>
                  <a:cxn ang="0">
                    <a:pos x="36" y="615"/>
                  </a:cxn>
                  <a:cxn ang="0">
                    <a:pos x="162" y="642"/>
                  </a:cxn>
                  <a:cxn ang="0">
                    <a:pos x="289" y="679"/>
                  </a:cxn>
                  <a:cxn ang="0">
                    <a:pos x="567" y="670"/>
                  </a:cxn>
                  <a:cxn ang="0">
                    <a:pos x="801" y="748"/>
                  </a:cxn>
                  <a:cxn ang="0">
                    <a:pos x="721" y="926"/>
                  </a:cxn>
                  <a:cxn ang="0">
                    <a:pos x="595" y="1043"/>
                  </a:cxn>
                  <a:cxn ang="0">
                    <a:pos x="630" y="1254"/>
                  </a:cxn>
                  <a:cxn ang="0">
                    <a:pos x="595" y="1481"/>
                  </a:cxn>
                  <a:cxn ang="0">
                    <a:pos x="486" y="1664"/>
                  </a:cxn>
                  <a:cxn ang="0">
                    <a:pos x="460" y="1864"/>
                  </a:cxn>
                  <a:cxn ang="0">
                    <a:pos x="541" y="2074"/>
                  </a:cxn>
                  <a:cxn ang="0">
                    <a:pos x="397" y="2256"/>
                  </a:cxn>
                  <a:cxn ang="0">
                    <a:pos x="532" y="2394"/>
                  </a:cxn>
                  <a:cxn ang="0">
                    <a:pos x="667" y="2484"/>
                  </a:cxn>
                  <a:cxn ang="0">
                    <a:pos x="739" y="2630"/>
                  </a:cxn>
                  <a:cxn ang="0">
                    <a:pos x="838" y="2813"/>
                  </a:cxn>
                  <a:cxn ang="0">
                    <a:pos x="770" y="3007"/>
                  </a:cxn>
                  <a:cxn ang="0">
                    <a:pos x="1008" y="2922"/>
                  </a:cxn>
                  <a:cxn ang="0">
                    <a:pos x="1027" y="2740"/>
                  </a:cxn>
                  <a:cxn ang="0">
                    <a:pos x="1189" y="2630"/>
                  </a:cxn>
                  <a:cxn ang="0">
                    <a:pos x="1386" y="2585"/>
                  </a:cxn>
                  <a:cxn ang="0">
                    <a:pos x="1783" y="2530"/>
                  </a:cxn>
                  <a:cxn ang="0">
                    <a:pos x="1972" y="2466"/>
                  </a:cxn>
                  <a:cxn ang="0">
                    <a:pos x="2188" y="2275"/>
                  </a:cxn>
                  <a:cxn ang="0">
                    <a:pos x="2287" y="2183"/>
                  </a:cxn>
                  <a:cxn ang="0">
                    <a:pos x="2413" y="1937"/>
                  </a:cxn>
                  <a:cxn ang="0">
                    <a:pos x="2603" y="1828"/>
                  </a:cxn>
                  <a:cxn ang="0">
                    <a:pos x="2467" y="1628"/>
                  </a:cxn>
                  <a:cxn ang="0">
                    <a:pos x="2593" y="1362"/>
                  </a:cxn>
                  <a:cxn ang="0">
                    <a:pos x="2810" y="1017"/>
                  </a:cxn>
                  <a:cxn ang="0">
                    <a:pos x="3187" y="926"/>
                  </a:cxn>
                  <a:cxn ang="0">
                    <a:pos x="3440" y="743"/>
                  </a:cxn>
                  <a:cxn ang="0">
                    <a:pos x="3440" y="497"/>
                  </a:cxn>
                  <a:cxn ang="0">
                    <a:pos x="3140" y="514"/>
                  </a:cxn>
                  <a:cxn ang="0">
                    <a:pos x="3083" y="461"/>
                  </a:cxn>
                  <a:cxn ang="0">
                    <a:pos x="3070" y="473"/>
                  </a:cxn>
                  <a:cxn ang="0">
                    <a:pos x="3043" y="479"/>
                  </a:cxn>
                  <a:cxn ang="0">
                    <a:pos x="3020" y="466"/>
                  </a:cxn>
                  <a:cxn ang="0">
                    <a:pos x="3023" y="434"/>
                  </a:cxn>
                  <a:cxn ang="0">
                    <a:pos x="3008" y="416"/>
                  </a:cxn>
                  <a:cxn ang="0">
                    <a:pos x="2945" y="404"/>
                  </a:cxn>
                  <a:cxn ang="0">
                    <a:pos x="2808" y="360"/>
                  </a:cxn>
                  <a:cxn ang="0">
                    <a:pos x="2557" y="395"/>
                  </a:cxn>
                  <a:cxn ang="0">
                    <a:pos x="2274" y="315"/>
                  </a:cxn>
                  <a:cxn ang="0">
                    <a:pos x="2141" y="157"/>
                  </a:cxn>
                  <a:cxn ang="0">
                    <a:pos x="1918" y="178"/>
                  </a:cxn>
                  <a:cxn ang="0">
                    <a:pos x="1710" y="204"/>
                  </a:cxn>
                  <a:cxn ang="0">
                    <a:pos x="1521" y="141"/>
                  </a:cxn>
                  <a:cxn ang="0">
                    <a:pos x="1332" y="132"/>
                  </a:cxn>
                  <a:cxn ang="0">
                    <a:pos x="1071" y="96"/>
                  </a:cxn>
                  <a:cxn ang="0">
                    <a:pos x="747" y="123"/>
                  </a:cxn>
                  <a:cxn ang="0">
                    <a:pos x="387" y="0"/>
                  </a:cxn>
                </a:cxnLst>
                <a:rect l="0" t="0" r="r" b="b"/>
                <a:pathLst>
                  <a:path w="3475" h="3007">
                    <a:moveTo>
                      <a:pt x="387" y="0"/>
                    </a:moveTo>
                    <a:lnTo>
                      <a:pt x="243" y="68"/>
                    </a:lnTo>
                    <a:lnTo>
                      <a:pt x="217" y="178"/>
                    </a:lnTo>
                    <a:lnTo>
                      <a:pt x="99" y="178"/>
                    </a:lnTo>
                    <a:lnTo>
                      <a:pt x="19" y="213"/>
                    </a:lnTo>
                    <a:lnTo>
                      <a:pt x="0" y="296"/>
                    </a:lnTo>
                    <a:lnTo>
                      <a:pt x="0" y="369"/>
                    </a:lnTo>
                    <a:lnTo>
                      <a:pt x="82" y="451"/>
                    </a:lnTo>
                    <a:lnTo>
                      <a:pt x="135" y="524"/>
                    </a:lnTo>
                    <a:lnTo>
                      <a:pt x="36" y="615"/>
                    </a:lnTo>
                    <a:lnTo>
                      <a:pt x="36" y="715"/>
                    </a:lnTo>
                    <a:lnTo>
                      <a:pt x="162" y="642"/>
                    </a:lnTo>
                    <a:lnTo>
                      <a:pt x="252" y="587"/>
                    </a:lnTo>
                    <a:lnTo>
                      <a:pt x="289" y="679"/>
                    </a:lnTo>
                    <a:lnTo>
                      <a:pt x="441" y="679"/>
                    </a:lnTo>
                    <a:lnTo>
                      <a:pt x="567" y="670"/>
                    </a:lnTo>
                    <a:lnTo>
                      <a:pt x="684" y="651"/>
                    </a:lnTo>
                    <a:lnTo>
                      <a:pt x="801" y="748"/>
                    </a:lnTo>
                    <a:lnTo>
                      <a:pt x="793" y="843"/>
                    </a:lnTo>
                    <a:lnTo>
                      <a:pt x="721" y="926"/>
                    </a:lnTo>
                    <a:lnTo>
                      <a:pt x="639" y="970"/>
                    </a:lnTo>
                    <a:lnTo>
                      <a:pt x="595" y="1043"/>
                    </a:lnTo>
                    <a:lnTo>
                      <a:pt x="612" y="1144"/>
                    </a:lnTo>
                    <a:lnTo>
                      <a:pt x="630" y="1254"/>
                    </a:lnTo>
                    <a:lnTo>
                      <a:pt x="567" y="1372"/>
                    </a:lnTo>
                    <a:lnTo>
                      <a:pt x="595" y="1481"/>
                    </a:lnTo>
                    <a:lnTo>
                      <a:pt x="478" y="1518"/>
                    </a:lnTo>
                    <a:lnTo>
                      <a:pt x="486" y="1664"/>
                    </a:lnTo>
                    <a:lnTo>
                      <a:pt x="558" y="1700"/>
                    </a:lnTo>
                    <a:lnTo>
                      <a:pt x="460" y="1864"/>
                    </a:lnTo>
                    <a:lnTo>
                      <a:pt x="460" y="2001"/>
                    </a:lnTo>
                    <a:lnTo>
                      <a:pt x="541" y="2074"/>
                    </a:lnTo>
                    <a:lnTo>
                      <a:pt x="432" y="2147"/>
                    </a:lnTo>
                    <a:lnTo>
                      <a:pt x="397" y="2256"/>
                    </a:lnTo>
                    <a:lnTo>
                      <a:pt x="406" y="2384"/>
                    </a:lnTo>
                    <a:lnTo>
                      <a:pt x="532" y="2394"/>
                    </a:lnTo>
                    <a:lnTo>
                      <a:pt x="612" y="2412"/>
                    </a:lnTo>
                    <a:lnTo>
                      <a:pt x="667" y="2484"/>
                    </a:lnTo>
                    <a:lnTo>
                      <a:pt x="693" y="2575"/>
                    </a:lnTo>
                    <a:lnTo>
                      <a:pt x="739" y="2630"/>
                    </a:lnTo>
                    <a:lnTo>
                      <a:pt x="775" y="2694"/>
                    </a:lnTo>
                    <a:lnTo>
                      <a:pt x="838" y="2813"/>
                    </a:lnTo>
                    <a:lnTo>
                      <a:pt x="802" y="2922"/>
                    </a:lnTo>
                    <a:lnTo>
                      <a:pt x="770" y="3007"/>
                    </a:lnTo>
                    <a:lnTo>
                      <a:pt x="1036" y="3007"/>
                    </a:lnTo>
                    <a:lnTo>
                      <a:pt x="1008" y="2922"/>
                    </a:lnTo>
                    <a:lnTo>
                      <a:pt x="982" y="2840"/>
                    </a:lnTo>
                    <a:lnTo>
                      <a:pt x="1027" y="2740"/>
                    </a:lnTo>
                    <a:lnTo>
                      <a:pt x="1080" y="2639"/>
                    </a:lnTo>
                    <a:lnTo>
                      <a:pt x="1189" y="2630"/>
                    </a:lnTo>
                    <a:lnTo>
                      <a:pt x="1260" y="2557"/>
                    </a:lnTo>
                    <a:lnTo>
                      <a:pt x="1386" y="2585"/>
                    </a:lnTo>
                    <a:lnTo>
                      <a:pt x="1576" y="2557"/>
                    </a:lnTo>
                    <a:lnTo>
                      <a:pt x="1783" y="2530"/>
                    </a:lnTo>
                    <a:lnTo>
                      <a:pt x="1936" y="2575"/>
                    </a:lnTo>
                    <a:lnTo>
                      <a:pt x="1972" y="2466"/>
                    </a:lnTo>
                    <a:lnTo>
                      <a:pt x="2053" y="2348"/>
                    </a:lnTo>
                    <a:lnTo>
                      <a:pt x="2188" y="2275"/>
                    </a:lnTo>
                    <a:lnTo>
                      <a:pt x="2308" y="2275"/>
                    </a:lnTo>
                    <a:lnTo>
                      <a:pt x="2287" y="2183"/>
                    </a:lnTo>
                    <a:lnTo>
                      <a:pt x="2332" y="2083"/>
                    </a:lnTo>
                    <a:lnTo>
                      <a:pt x="2413" y="1937"/>
                    </a:lnTo>
                    <a:lnTo>
                      <a:pt x="2521" y="1910"/>
                    </a:lnTo>
                    <a:lnTo>
                      <a:pt x="2603" y="1828"/>
                    </a:lnTo>
                    <a:lnTo>
                      <a:pt x="2494" y="1773"/>
                    </a:lnTo>
                    <a:lnTo>
                      <a:pt x="2467" y="1628"/>
                    </a:lnTo>
                    <a:lnTo>
                      <a:pt x="2485" y="1500"/>
                    </a:lnTo>
                    <a:lnTo>
                      <a:pt x="2593" y="1362"/>
                    </a:lnTo>
                    <a:lnTo>
                      <a:pt x="2701" y="1190"/>
                    </a:lnTo>
                    <a:lnTo>
                      <a:pt x="2810" y="1017"/>
                    </a:lnTo>
                    <a:lnTo>
                      <a:pt x="3016" y="970"/>
                    </a:lnTo>
                    <a:lnTo>
                      <a:pt x="3187" y="926"/>
                    </a:lnTo>
                    <a:lnTo>
                      <a:pt x="3283" y="838"/>
                    </a:lnTo>
                    <a:lnTo>
                      <a:pt x="3440" y="743"/>
                    </a:lnTo>
                    <a:lnTo>
                      <a:pt x="3475" y="624"/>
                    </a:lnTo>
                    <a:lnTo>
                      <a:pt x="3440" y="497"/>
                    </a:lnTo>
                    <a:lnTo>
                      <a:pt x="3298" y="515"/>
                    </a:lnTo>
                    <a:lnTo>
                      <a:pt x="3140" y="514"/>
                    </a:lnTo>
                    <a:lnTo>
                      <a:pt x="3106" y="475"/>
                    </a:lnTo>
                    <a:lnTo>
                      <a:pt x="3083" y="461"/>
                    </a:lnTo>
                    <a:lnTo>
                      <a:pt x="3073" y="466"/>
                    </a:lnTo>
                    <a:lnTo>
                      <a:pt x="3070" y="473"/>
                    </a:lnTo>
                    <a:lnTo>
                      <a:pt x="3055" y="473"/>
                    </a:lnTo>
                    <a:lnTo>
                      <a:pt x="3043" y="479"/>
                    </a:lnTo>
                    <a:lnTo>
                      <a:pt x="3026" y="484"/>
                    </a:lnTo>
                    <a:lnTo>
                      <a:pt x="3020" y="466"/>
                    </a:lnTo>
                    <a:lnTo>
                      <a:pt x="3017" y="446"/>
                    </a:lnTo>
                    <a:lnTo>
                      <a:pt x="3023" y="434"/>
                    </a:lnTo>
                    <a:lnTo>
                      <a:pt x="3032" y="419"/>
                    </a:lnTo>
                    <a:lnTo>
                      <a:pt x="3008" y="416"/>
                    </a:lnTo>
                    <a:lnTo>
                      <a:pt x="2983" y="400"/>
                    </a:lnTo>
                    <a:lnTo>
                      <a:pt x="2945" y="404"/>
                    </a:lnTo>
                    <a:lnTo>
                      <a:pt x="2918" y="396"/>
                    </a:lnTo>
                    <a:lnTo>
                      <a:pt x="2808" y="360"/>
                    </a:lnTo>
                    <a:lnTo>
                      <a:pt x="2720" y="425"/>
                    </a:lnTo>
                    <a:lnTo>
                      <a:pt x="2557" y="395"/>
                    </a:lnTo>
                    <a:lnTo>
                      <a:pt x="2430" y="396"/>
                    </a:lnTo>
                    <a:lnTo>
                      <a:pt x="2274" y="315"/>
                    </a:lnTo>
                    <a:lnTo>
                      <a:pt x="2160" y="269"/>
                    </a:lnTo>
                    <a:lnTo>
                      <a:pt x="2141" y="157"/>
                    </a:lnTo>
                    <a:lnTo>
                      <a:pt x="2026" y="204"/>
                    </a:lnTo>
                    <a:lnTo>
                      <a:pt x="1918" y="178"/>
                    </a:lnTo>
                    <a:lnTo>
                      <a:pt x="1783" y="123"/>
                    </a:lnTo>
                    <a:lnTo>
                      <a:pt x="1710" y="204"/>
                    </a:lnTo>
                    <a:lnTo>
                      <a:pt x="1603" y="114"/>
                    </a:lnTo>
                    <a:lnTo>
                      <a:pt x="1521" y="141"/>
                    </a:lnTo>
                    <a:lnTo>
                      <a:pt x="1395" y="195"/>
                    </a:lnTo>
                    <a:lnTo>
                      <a:pt x="1332" y="132"/>
                    </a:lnTo>
                    <a:lnTo>
                      <a:pt x="1197" y="132"/>
                    </a:lnTo>
                    <a:lnTo>
                      <a:pt x="1071" y="96"/>
                    </a:lnTo>
                    <a:lnTo>
                      <a:pt x="882" y="114"/>
                    </a:lnTo>
                    <a:lnTo>
                      <a:pt x="747" y="123"/>
                    </a:lnTo>
                    <a:lnTo>
                      <a:pt x="594" y="90"/>
                    </a:lnTo>
                    <a:lnTo>
                      <a:pt x="387" y="0"/>
                    </a:lnTo>
                    <a:close/>
                  </a:path>
                </a:pathLst>
              </a:custGeom>
              <a:solidFill>
                <a:srgbClr val="8E0062"/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6" name="Freeform 29">
                <a:extLst>
                  <a:ext uri="{FF2B5EF4-FFF2-40B4-BE49-F238E27FC236}">
                    <a16:creationId xmlns:a16="http://schemas.microsoft.com/office/drawing/2014/main" id="{0862CCF9-38D7-6898-505A-6EC99A0AF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1998" y="4987223"/>
                <a:ext cx="617827" cy="1176064"/>
              </a:xfrm>
              <a:custGeom>
                <a:avLst/>
                <a:gdLst/>
                <a:ahLst/>
                <a:cxnLst>
                  <a:cxn ang="0">
                    <a:pos x="208" y="128"/>
                  </a:cxn>
                  <a:cxn ang="0">
                    <a:pos x="426" y="0"/>
                  </a:cxn>
                  <a:cxn ang="0">
                    <a:pos x="462" y="92"/>
                  </a:cxn>
                  <a:cxn ang="0">
                    <a:pos x="630" y="92"/>
                  </a:cxn>
                  <a:cxn ang="0">
                    <a:pos x="747" y="81"/>
                  </a:cxn>
                  <a:cxn ang="0">
                    <a:pos x="864" y="66"/>
                  </a:cxn>
                  <a:cxn ang="0">
                    <a:pos x="985" y="161"/>
                  </a:cxn>
                  <a:cxn ang="0">
                    <a:pos x="973" y="258"/>
                  </a:cxn>
                  <a:cxn ang="0">
                    <a:pos x="901" y="341"/>
                  </a:cxn>
                  <a:cxn ang="0">
                    <a:pos x="817" y="384"/>
                  </a:cxn>
                  <a:cxn ang="0">
                    <a:pos x="775" y="458"/>
                  </a:cxn>
                  <a:cxn ang="0">
                    <a:pos x="810" y="668"/>
                  </a:cxn>
                  <a:cxn ang="0">
                    <a:pos x="745" y="788"/>
                  </a:cxn>
                  <a:cxn ang="0">
                    <a:pos x="772" y="897"/>
                  </a:cxn>
                  <a:cxn ang="0">
                    <a:pos x="654" y="935"/>
                  </a:cxn>
                  <a:cxn ang="0">
                    <a:pos x="664" y="1079"/>
                  </a:cxn>
                  <a:cxn ang="0">
                    <a:pos x="736" y="1115"/>
                  </a:cxn>
                  <a:cxn ang="0">
                    <a:pos x="637" y="1277"/>
                  </a:cxn>
                  <a:cxn ang="0">
                    <a:pos x="636" y="1416"/>
                  </a:cxn>
                  <a:cxn ang="0">
                    <a:pos x="717" y="1491"/>
                  </a:cxn>
                  <a:cxn ang="0">
                    <a:pos x="610" y="1565"/>
                  </a:cxn>
                  <a:cxn ang="0">
                    <a:pos x="573" y="1674"/>
                  </a:cxn>
                  <a:cxn ang="0">
                    <a:pos x="583" y="1802"/>
                  </a:cxn>
                  <a:cxn ang="0">
                    <a:pos x="464" y="1814"/>
                  </a:cxn>
                  <a:cxn ang="0">
                    <a:pos x="392" y="1878"/>
                  </a:cxn>
                  <a:cxn ang="0">
                    <a:pos x="272" y="1814"/>
                  </a:cxn>
                  <a:cxn ang="0">
                    <a:pos x="140" y="1831"/>
                  </a:cxn>
                  <a:cxn ang="0">
                    <a:pos x="128" y="1718"/>
                  </a:cxn>
                  <a:cxn ang="0">
                    <a:pos x="192" y="1622"/>
                  </a:cxn>
                  <a:cxn ang="0">
                    <a:pos x="168" y="1478"/>
                  </a:cxn>
                  <a:cxn ang="0">
                    <a:pos x="230" y="1261"/>
                  </a:cxn>
                  <a:cxn ang="0">
                    <a:pos x="136" y="1270"/>
                  </a:cxn>
                  <a:cxn ang="0">
                    <a:pos x="48" y="1246"/>
                  </a:cxn>
                  <a:cxn ang="0">
                    <a:pos x="0" y="1174"/>
                  </a:cxn>
                  <a:cxn ang="0">
                    <a:pos x="32" y="1078"/>
                  </a:cxn>
                  <a:cxn ang="0">
                    <a:pos x="96" y="974"/>
                  </a:cxn>
                  <a:cxn ang="0">
                    <a:pos x="144" y="878"/>
                  </a:cxn>
                  <a:cxn ang="0">
                    <a:pos x="184" y="806"/>
                  </a:cxn>
                  <a:cxn ang="0">
                    <a:pos x="208" y="646"/>
                  </a:cxn>
                  <a:cxn ang="0">
                    <a:pos x="256" y="518"/>
                  </a:cxn>
                  <a:cxn ang="0">
                    <a:pos x="296" y="422"/>
                  </a:cxn>
                  <a:cxn ang="0">
                    <a:pos x="232" y="334"/>
                  </a:cxn>
                  <a:cxn ang="0">
                    <a:pos x="216" y="230"/>
                  </a:cxn>
                  <a:cxn ang="0">
                    <a:pos x="208" y="128"/>
                  </a:cxn>
                </a:cxnLst>
                <a:rect l="0" t="0" r="r" b="b"/>
                <a:pathLst>
                  <a:path w="985" h="1878">
                    <a:moveTo>
                      <a:pt x="208" y="128"/>
                    </a:moveTo>
                    <a:lnTo>
                      <a:pt x="426" y="0"/>
                    </a:lnTo>
                    <a:lnTo>
                      <a:pt x="462" y="92"/>
                    </a:lnTo>
                    <a:lnTo>
                      <a:pt x="630" y="92"/>
                    </a:lnTo>
                    <a:lnTo>
                      <a:pt x="747" y="81"/>
                    </a:lnTo>
                    <a:lnTo>
                      <a:pt x="864" y="66"/>
                    </a:lnTo>
                    <a:lnTo>
                      <a:pt x="985" y="161"/>
                    </a:lnTo>
                    <a:lnTo>
                      <a:pt x="973" y="258"/>
                    </a:lnTo>
                    <a:lnTo>
                      <a:pt x="901" y="341"/>
                    </a:lnTo>
                    <a:lnTo>
                      <a:pt x="817" y="384"/>
                    </a:lnTo>
                    <a:lnTo>
                      <a:pt x="775" y="458"/>
                    </a:lnTo>
                    <a:lnTo>
                      <a:pt x="810" y="668"/>
                    </a:lnTo>
                    <a:lnTo>
                      <a:pt x="745" y="788"/>
                    </a:lnTo>
                    <a:lnTo>
                      <a:pt x="772" y="897"/>
                    </a:lnTo>
                    <a:lnTo>
                      <a:pt x="654" y="935"/>
                    </a:lnTo>
                    <a:lnTo>
                      <a:pt x="664" y="1079"/>
                    </a:lnTo>
                    <a:lnTo>
                      <a:pt x="736" y="1115"/>
                    </a:lnTo>
                    <a:lnTo>
                      <a:pt x="637" y="1277"/>
                    </a:lnTo>
                    <a:lnTo>
                      <a:pt x="636" y="1416"/>
                    </a:lnTo>
                    <a:lnTo>
                      <a:pt x="717" y="1491"/>
                    </a:lnTo>
                    <a:lnTo>
                      <a:pt x="610" y="1565"/>
                    </a:lnTo>
                    <a:lnTo>
                      <a:pt x="573" y="1674"/>
                    </a:lnTo>
                    <a:lnTo>
                      <a:pt x="583" y="1802"/>
                    </a:lnTo>
                    <a:lnTo>
                      <a:pt x="464" y="1814"/>
                    </a:lnTo>
                    <a:lnTo>
                      <a:pt x="392" y="1878"/>
                    </a:lnTo>
                    <a:lnTo>
                      <a:pt x="272" y="1814"/>
                    </a:lnTo>
                    <a:lnTo>
                      <a:pt x="140" y="1831"/>
                    </a:lnTo>
                    <a:lnTo>
                      <a:pt x="128" y="1718"/>
                    </a:lnTo>
                    <a:lnTo>
                      <a:pt x="192" y="1622"/>
                    </a:lnTo>
                    <a:lnTo>
                      <a:pt x="168" y="1478"/>
                    </a:lnTo>
                    <a:lnTo>
                      <a:pt x="230" y="1261"/>
                    </a:lnTo>
                    <a:lnTo>
                      <a:pt x="136" y="1270"/>
                    </a:lnTo>
                    <a:lnTo>
                      <a:pt x="48" y="1246"/>
                    </a:lnTo>
                    <a:lnTo>
                      <a:pt x="0" y="1174"/>
                    </a:lnTo>
                    <a:lnTo>
                      <a:pt x="32" y="1078"/>
                    </a:lnTo>
                    <a:lnTo>
                      <a:pt x="96" y="974"/>
                    </a:lnTo>
                    <a:lnTo>
                      <a:pt x="144" y="878"/>
                    </a:lnTo>
                    <a:lnTo>
                      <a:pt x="184" y="806"/>
                    </a:lnTo>
                    <a:lnTo>
                      <a:pt x="208" y="646"/>
                    </a:lnTo>
                    <a:lnTo>
                      <a:pt x="256" y="518"/>
                    </a:lnTo>
                    <a:lnTo>
                      <a:pt x="296" y="422"/>
                    </a:lnTo>
                    <a:lnTo>
                      <a:pt x="232" y="334"/>
                    </a:lnTo>
                    <a:lnTo>
                      <a:pt x="216" y="230"/>
                    </a:lnTo>
                    <a:lnTo>
                      <a:pt x="208" y="128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7" name="Freeform 30">
                <a:extLst>
                  <a:ext uri="{FF2B5EF4-FFF2-40B4-BE49-F238E27FC236}">
                    <a16:creationId xmlns:a16="http://schemas.microsoft.com/office/drawing/2014/main" id="{6677E47F-8EE2-AC40-71CB-D3F83679C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9409" y="3845658"/>
                <a:ext cx="2126324" cy="2107508"/>
              </a:xfrm>
              <a:custGeom>
                <a:avLst/>
                <a:gdLst/>
                <a:ahLst/>
                <a:cxnLst>
                  <a:cxn ang="0">
                    <a:pos x="397" y="1221"/>
                  </a:cxn>
                  <a:cxn ang="0">
                    <a:pos x="526" y="1053"/>
                  </a:cxn>
                  <a:cxn ang="0">
                    <a:pos x="751" y="1053"/>
                  </a:cxn>
                  <a:cxn ang="0">
                    <a:pos x="1011" y="1173"/>
                  </a:cxn>
                  <a:cxn ang="0">
                    <a:pos x="1129" y="1580"/>
                  </a:cxn>
                  <a:cxn ang="0">
                    <a:pos x="1389" y="1843"/>
                  </a:cxn>
                  <a:cxn ang="0">
                    <a:pos x="1719" y="2142"/>
                  </a:cxn>
                  <a:cxn ang="0">
                    <a:pos x="2003" y="2202"/>
                  </a:cxn>
                  <a:cxn ang="0">
                    <a:pos x="2156" y="2358"/>
                  </a:cxn>
                  <a:cxn ang="0">
                    <a:pos x="2274" y="2406"/>
                  </a:cxn>
                  <a:cxn ang="0">
                    <a:pos x="2380" y="2585"/>
                  </a:cxn>
                  <a:cxn ang="0">
                    <a:pos x="2569" y="2621"/>
                  </a:cxn>
                  <a:cxn ang="0">
                    <a:pos x="2676" y="2932"/>
                  </a:cxn>
                  <a:cxn ang="0">
                    <a:pos x="2628" y="3160"/>
                  </a:cxn>
                  <a:cxn ang="0">
                    <a:pos x="2664" y="3351"/>
                  </a:cxn>
                  <a:cxn ang="0">
                    <a:pos x="2841" y="3195"/>
                  </a:cxn>
                  <a:cxn ang="0">
                    <a:pos x="2841" y="3040"/>
                  </a:cxn>
                  <a:cxn ang="0">
                    <a:pos x="2983" y="2980"/>
                  </a:cxn>
                  <a:cxn ang="0">
                    <a:pos x="2888" y="2788"/>
                  </a:cxn>
                  <a:cxn ang="0">
                    <a:pos x="2794" y="2669"/>
                  </a:cxn>
                  <a:cxn ang="0">
                    <a:pos x="3006" y="2537"/>
                  </a:cxn>
                  <a:cxn ang="0">
                    <a:pos x="3183" y="2609"/>
                  </a:cxn>
                  <a:cxn ang="0">
                    <a:pos x="3337" y="2573"/>
                  </a:cxn>
                  <a:cxn ang="0">
                    <a:pos x="3089" y="2358"/>
                  </a:cxn>
                  <a:cxn ang="0">
                    <a:pos x="2723" y="2190"/>
                  </a:cxn>
                  <a:cxn ang="0">
                    <a:pos x="2699" y="2035"/>
                  </a:cxn>
                  <a:cxn ang="0">
                    <a:pos x="2593" y="1963"/>
                  </a:cxn>
                  <a:cxn ang="0">
                    <a:pos x="2357" y="1939"/>
                  </a:cxn>
                  <a:cxn ang="0">
                    <a:pos x="2109" y="1711"/>
                  </a:cxn>
                  <a:cxn ang="0">
                    <a:pos x="1979" y="1340"/>
                  </a:cxn>
                  <a:cxn ang="0">
                    <a:pos x="1719" y="1197"/>
                  </a:cxn>
                  <a:cxn ang="0">
                    <a:pos x="1542" y="1017"/>
                  </a:cxn>
                  <a:cxn ang="0">
                    <a:pos x="1625" y="838"/>
                  </a:cxn>
                  <a:cxn ang="0">
                    <a:pos x="1589" y="562"/>
                  </a:cxn>
                  <a:cxn ang="0">
                    <a:pos x="1855" y="513"/>
                  </a:cxn>
                  <a:cxn ang="0">
                    <a:pos x="1908" y="335"/>
                  </a:cxn>
                  <a:cxn ang="0">
                    <a:pos x="1707" y="203"/>
                  </a:cxn>
                  <a:cxn ang="0">
                    <a:pos x="1542" y="12"/>
                  </a:cxn>
                  <a:cxn ang="0">
                    <a:pos x="1324" y="4"/>
                  </a:cxn>
                  <a:cxn ang="0">
                    <a:pos x="1070" y="108"/>
                  </a:cxn>
                  <a:cxn ang="0">
                    <a:pos x="857" y="287"/>
                  </a:cxn>
                  <a:cxn ang="0">
                    <a:pos x="609" y="407"/>
                  </a:cxn>
                  <a:cxn ang="0">
                    <a:pos x="456" y="275"/>
                  </a:cxn>
                  <a:cxn ang="0">
                    <a:pos x="208" y="491"/>
                  </a:cxn>
                  <a:cxn ang="0">
                    <a:pos x="115" y="604"/>
                  </a:cxn>
                  <a:cxn ang="0">
                    <a:pos x="0" y="753"/>
                  </a:cxn>
                  <a:cxn ang="0">
                    <a:pos x="45" y="1018"/>
                  </a:cxn>
                  <a:cxn ang="0">
                    <a:pos x="287" y="1112"/>
                  </a:cxn>
                </a:cxnLst>
                <a:rect l="0" t="0" r="r" b="b"/>
                <a:pathLst>
                  <a:path w="3337" h="3351">
                    <a:moveTo>
                      <a:pt x="270" y="1238"/>
                    </a:moveTo>
                    <a:lnTo>
                      <a:pt x="397" y="1221"/>
                    </a:lnTo>
                    <a:lnTo>
                      <a:pt x="432" y="1113"/>
                    </a:lnTo>
                    <a:lnTo>
                      <a:pt x="526" y="1053"/>
                    </a:lnTo>
                    <a:lnTo>
                      <a:pt x="633" y="1017"/>
                    </a:lnTo>
                    <a:lnTo>
                      <a:pt x="751" y="1053"/>
                    </a:lnTo>
                    <a:lnTo>
                      <a:pt x="881" y="1149"/>
                    </a:lnTo>
                    <a:lnTo>
                      <a:pt x="1011" y="1173"/>
                    </a:lnTo>
                    <a:lnTo>
                      <a:pt x="1011" y="1412"/>
                    </a:lnTo>
                    <a:lnTo>
                      <a:pt x="1129" y="1580"/>
                    </a:lnTo>
                    <a:lnTo>
                      <a:pt x="1235" y="1699"/>
                    </a:lnTo>
                    <a:lnTo>
                      <a:pt x="1389" y="1843"/>
                    </a:lnTo>
                    <a:lnTo>
                      <a:pt x="1483" y="1939"/>
                    </a:lnTo>
                    <a:lnTo>
                      <a:pt x="1719" y="2142"/>
                    </a:lnTo>
                    <a:lnTo>
                      <a:pt x="1837" y="2202"/>
                    </a:lnTo>
                    <a:lnTo>
                      <a:pt x="2003" y="2202"/>
                    </a:lnTo>
                    <a:lnTo>
                      <a:pt x="2073" y="2334"/>
                    </a:lnTo>
                    <a:lnTo>
                      <a:pt x="2156" y="2358"/>
                    </a:lnTo>
                    <a:lnTo>
                      <a:pt x="2192" y="2429"/>
                    </a:lnTo>
                    <a:lnTo>
                      <a:pt x="2274" y="2406"/>
                    </a:lnTo>
                    <a:lnTo>
                      <a:pt x="2345" y="2465"/>
                    </a:lnTo>
                    <a:lnTo>
                      <a:pt x="2380" y="2585"/>
                    </a:lnTo>
                    <a:lnTo>
                      <a:pt x="2463" y="2645"/>
                    </a:lnTo>
                    <a:lnTo>
                      <a:pt x="2569" y="2621"/>
                    </a:lnTo>
                    <a:lnTo>
                      <a:pt x="2581" y="2789"/>
                    </a:lnTo>
                    <a:lnTo>
                      <a:pt x="2676" y="2932"/>
                    </a:lnTo>
                    <a:lnTo>
                      <a:pt x="2723" y="3076"/>
                    </a:lnTo>
                    <a:lnTo>
                      <a:pt x="2628" y="3160"/>
                    </a:lnTo>
                    <a:lnTo>
                      <a:pt x="2564" y="3326"/>
                    </a:lnTo>
                    <a:lnTo>
                      <a:pt x="2664" y="3351"/>
                    </a:lnTo>
                    <a:lnTo>
                      <a:pt x="2747" y="3255"/>
                    </a:lnTo>
                    <a:lnTo>
                      <a:pt x="2841" y="3195"/>
                    </a:lnTo>
                    <a:lnTo>
                      <a:pt x="2794" y="3124"/>
                    </a:lnTo>
                    <a:lnTo>
                      <a:pt x="2841" y="3040"/>
                    </a:lnTo>
                    <a:lnTo>
                      <a:pt x="2918" y="3027"/>
                    </a:lnTo>
                    <a:lnTo>
                      <a:pt x="2983" y="2980"/>
                    </a:lnTo>
                    <a:lnTo>
                      <a:pt x="2959" y="2872"/>
                    </a:lnTo>
                    <a:lnTo>
                      <a:pt x="2888" y="2788"/>
                    </a:lnTo>
                    <a:lnTo>
                      <a:pt x="2806" y="2777"/>
                    </a:lnTo>
                    <a:lnTo>
                      <a:pt x="2794" y="2669"/>
                    </a:lnTo>
                    <a:lnTo>
                      <a:pt x="2853" y="2537"/>
                    </a:lnTo>
                    <a:lnTo>
                      <a:pt x="3006" y="2537"/>
                    </a:lnTo>
                    <a:lnTo>
                      <a:pt x="3101" y="2525"/>
                    </a:lnTo>
                    <a:lnTo>
                      <a:pt x="3183" y="2609"/>
                    </a:lnTo>
                    <a:lnTo>
                      <a:pt x="3278" y="2693"/>
                    </a:lnTo>
                    <a:lnTo>
                      <a:pt x="3337" y="2573"/>
                    </a:lnTo>
                    <a:lnTo>
                      <a:pt x="3254" y="2441"/>
                    </a:lnTo>
                    <a:lnTo>
                      <a:pt x="3089" y="2358"/>
                    </a:lnTo>
                    <a:lnTo>
                      <a:pt x="2912" y="2262"/>
                    </a:lnTo>
                    <a:lnTo>
                      <a:pt x="2723" y="2190"/>
                    </a:lnTo>
                    <a:lnTo>
                      <a:pt x="2605" y="2094"/>
                    </a:lnTo>
                    <a:lnTo>
                      <a:pt x="2699" y="2035"/>
                    </a:lnTo>
                    <a:lnTo>
                      <a:pt x="2676" y="1939"/>
                    </a:lnTo>
                    <a:lnTo>
                      <a:pt x="2593" y="1963"/>
                    </a:lnTo>
                    <a:lnTo>
                      <a:pt x="2475" y="1963"/>
                    </a:lnTo>
                    <a:lnTo>
                      <a:pt x="2357" y="1939"/>
                    </a:lnTo>
                    <a:lnTo>
                      <a:pt x="2262" y="1855"/>
                    </a:lnTo>
                    <a:lnTo>
                      <a:pt x="2109" y="1711"/>
                    </a:lnTo>
                    <a:lnTo>
                      <a:pt x="2003" y="1532"/>
                    </a:lnTo>
                    <a:lnTo>
                      <a:pt x="1979" y="1340"/>
                    </a:lnTo>
                    <a:lnTo>
                      <a:pt x="1873" y="1293"/>
                    </a:lnTo>
                    <a:lnTo>
                      <a:pt x="1719" y="1197"/>
                    </a:lnTo>
                    <a:lnTo>
                      <a:pt x="1560" y="1141"/>
                    </a:lnTo>
                    <a:lnTo>
                      <a:pt x="1542" y="1017"/>
                    </a:lnTo>
                    <a:lnTo>
                      <a:pt x="1566" y="898"/>
                    </a:lnTo>
                    <a:lnTo>
                      <a:pt x="1625" y="838"/>
                    </a:lnTo>
                    <a:lnTo>
                      <a:pt x="1530" y="682"/>
                    </a:lnTo>
                    <a:lnTo>
                      <a:pt x="1589" y="562"/>
                    </a:lnTo>
                    <a:lnTo>
                      <a:pt x="1737" y="543"/>
                    </a:lnTo>
                    <a:lnTo>
                      <a:pt x="1855" y="513"/>
                    </a:lnTo>
                    <a:lnTo>
                      <a:pt x="1908" y="455"/>
                    </a:lnTo>
                    <a:lnTo>
                      <a:pt x="1908" y="335"/>
                    </a:lnTo>
                    <a:lnTo>
                      <a:pt x="1849" y="203"/>
                    </a:lnTo>
                    <a:lnTo>
                      <a:pt x="1707" y="203"/>
                    </a:lnTo>
                    <a:lnTo>
                      <a:pt x="1577" y="96"/>
                    </a:lnTo>
                    <a:lnTo>
                      <a:pt x="1542" y="12"/>
                    </a:lnTo>
                    <a:lnTo>
                      <a:pt x="1448" y="0"/>
                    </a:lnTo>
                    <a:lnTo>
                      <a:pt x="1324" y="4"/>
                    </a:lnTo>
                    <a:lnTo>
                      <a:pt x="1200" y="96"/>
                    </a:lnTo>
                    <a:lnTo>
                      <a:pt x="1070" y="108"/>
                    </a:lnTo>
                    <a:lnTo>
                      <a:pt x="987" y="239"/>
                    </a:lnTo>
                    <a:lnTo>
                      <a:pt x="857" y="287"/>
                    </a:lnTo>
                    <a:lnTo>
                      <a:pt x="704" y="323"/>
                    </a:lnTo>
                    <a:lnTo>
                      <a:pt x="609" y="407"/>
                    </a:lnTo>
                    <a:lnTo>
                      <a:pt x="526" y="347"/>
                    </a:lnTo>
                    <a:lnTo>
                      <a:pt x="456" y="275"/>
                    </a:lnTo>
                    <a:lnTo>
                      <a:pt x="373" y="431"/>
                    </a:lnTo>
                    <a:lnTo>
                      <a:pt x="208" y="491"/>
                    </a:lnTo>
                    <a:lnTo>
                      <a:pt x="54" y="491"/>
                    </a:lnTo>
                    <a:lnTo>
                      <a:pt x="115" y="604"/>
                    </a:lnTo>
                    <a:lnTo>
                      <a:pt x="118" y="685"/>
                    </a:lnTo>
                    <a:lnTo>
                      <a:pt x="0" y="753"/>
                    </a:lnTo>
                    <a:lnTo>
                      <a:pt x="78" y="875"/>
                    </a:lnTo>
                    <a:lnTo>
                      <a:pt x="45" y="1018"/>
                    </a:lnTo>
                    <a:lnTo>
                      <a:pt x="171" y="1101"/>
                    </a:lnTo>
                    <a:lnTo>
                      <a:pt x="287" y="1112"/>
                    </a:lnTo>
                    <a:lnTo>
                      <a:pt x="270" y="1238"/>
                    </a:lnTo>
                    <a:close/>
                  </a:path>
                </a:pathLst>
              </a:custGeom>
              <a:solidFill>
                <a:srgbClr val="8E0062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8" name="Freeform 32">
                <a:extLst>
                  <a:ext uri="{FF2B5EF4-FFF2-40B4-BE49-F238E27FC236}">
                    <a16:creationId xmlns:a16="http://schemas.microsoft.com/office/drawing/2014/main" id="{5C302BB5-9701-2E3C-00C6-BA26921A1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693" y="3359550"/>
                <a:ext cx="1357963" cy="642916"/>
              </a:xfrm>
              <a:custGeom>
                <a:avLst/>
                <a:gdLst/>
                <a:ahLst/>
                <a:cxnLst>
                  <a:cxn ang="0">
                    <a:pos x="1667" y="24"/>
                  </a:cxn>
                  <a:cxn ang="0">
                    <a:pos x="1556" y="24"/>
                  </a:cxn>
                  <a:cxn ang="0">
                    <a:pos x="1487" y="0"/>
                  </a:cxn>
                  <a:cxn ang="0">
                    <a:pos x="1462" y="79"/>
                  </a:cxn>
                  <a:cxn ang="0">
                    <a:pos x="1385" y="133"/>
                  </a:cxn>
                  <a:cxn ang="0">
                    <a:pos x="1273" y="124"/>
                  </a:cxn>
                  <a:cxn ang="0">
                    <a:pos x="1184" y="135"/>
                  </a:cxn>
                  <a:cxn ang="0">
                    <a:pos x="1098" y="190"/>
                  </a:cxn>
                  <a:cxn ang="0">
                    <a:pos x="986" y="214"/>
                  </a:cxn>
                  <a:cxn ang="0">
                    <a:pos x="881" y="307"/>
                  </a:cxn>
                  <a:cxn ang="0">
                    <a:pos x="886" y="408"/>
                  </a:cxn>
                  <a:cxn ang="0">
                    <a:pos x="943" y="489"/>
                  </a:cxn>
                  <a:cxn ang="0">
                    <a:pos x="597" y="572"/>
                  </a:cxn>
                  <a:cxn ang="0">
                    <a:pos x="385" y="600"/>
                  </a:cxn>
                  <a:cxn ang="0">
                    <a:pos x="224" y="572"/>
                  </a:cxn>
                  <a:cxn ang="0">
                    <a:pos x="66" y="599"/>
                  </a:cxn>
                  <a:cxn ang="0">
                    <a:pos x="0" y="678"/>
                  </a:cxn>
                  <a:cxn ang="0">
                    <a:pos x="39" y="742"/>
                  </a:cxn>
                  <a:cxn ang="0">
                    <a:pos x="31" y="846"/>
                  </a:cxn>
                  <a:cxn ang="0">
                    <a:pos x="126" y="822"/>
                  </a:cxn>
                  <a:cxn ang="0">
                    <a:pos x="260" y="838"/>
                  </a:cxn>
                  <a:cxn ang="0">
                    <a:pos x="230" y="882"/>
                  </a:cxn>
                  <a:cxn ang="0">
                    <a:pos x="358" y="869"/>
                  </a:cxn>
                  <a:cxn ang="0">
                    <a:pos x="484" y="779"/>
                  </a:cxn>
                  <a:cxn ang="0">
                    <a:pos x="612" y="774"/>
                  </a:cxn>
                  <a:cxn ang="0">
                    <a:pos x="700" y="786"/>
                  </a:cxn>
                  <a:cxn ang="0">
                    <a:pos x="736" y="870"/>
                  </a:cxn>
                  <a:cxn ang="0">
                    <a:pos x="866" y="978"/>
                  </a:cxn>
                  <a:cxn ang="0">
                    <a:pos x="1009" y="977"/>
                  </a:cxn>
                  <a:cxn ang="0">
                    <a:pos x="1110" y="974"/>
                  </a:cxn>
                  <a:cxn ang="0">
                    <a:pos x="1228" y="982"/>
                  </a:cxn>
                  <a:cxn ang="0">
                    <a:pos x="1283" y="1022"/>
                  </a:cxn>
                  <a:cxn ang="0">
                    <a:pos x="1362" y="982"/>
                  </a:cxn>
                  <a:cxn ang="0">
                    <a:pos x="1385" y="926"/>
                  </a:cxn>
                  <a:cxn ang="0">
                    <a:pos x="1495" y="926"/>
                  </a:cxn>
                  <a:cxn ang="0">
                    <a:pos x="1637" y="886"/>
                  </a:cxn>
                  <a:cxn ang="0">
                    <a:pos x="1739" y="910"/>
                  </a:cxn>
                  <a:cxn ang="0">
                    <a:pos x="1849" y="891"/>
                  </a:cxn>
                  <a:cxn ang="0">
                    <a:pos x="1889" y="677"/>
                  </a:cxn>
                  <a:cxn ang="0">
                    <a:pos x="1872" y="527"/>
                  </a:cxn>
                  <a:cxn ang="0">
                    <a:pos x="2019" y="480"/>
                  </a:cxn>
                  <a:cxn ang="0">
                    <a:pos x="2132" y="432"/>
                  </a:cxn>
                  <a:cxn ang="0">
                    <a:pos x="1998" y="408"/>
                  </a:cxn>
                  <a:cxn ang="0">
                    <a:pos x="1964" y="357"/>
                  </a:cxn>
                  <a:cxn ang="0">
                    <a:pos x="1951" y="249"/>
                  </a:cxn>
                  <a:cxn ang="0">
                    <a:pos x="1970" y="169"/>
                  </a:cxn>
                  <a:cxn ang="0">
                    <a:pos x="1967" y="94"/>
                  </a:cxn>
                  <a:cxn ang="0">
                    <a:pos x="1843" y="115"/>
                  </a:cxn>
                  <a:cxn ang="0">
                    <a:pos x="1724" y="79"/>
                  </a:cxn>
                  <a:cxn ang="0">
                    <a:pos x="1667" y="24"/>
                  </a:cxn>
                </a:cxnLst>
                <a:rect l="0" t="0" r="r" b="b"/>
                <a:pathLst>
                  <a:path w="2132" h="1022">
                    <a:moveTo>
                      <a:pt x="1667" y="24"/>
                    </a:moveTo>
                    <a:lnTo>
                      <a:pt x="1556" y="24"/>
                    </a:lnTo>
                    <a:lnTo>
                      <a:pt x="1487" y="0"/>
                    </a:lnTo>
                    <a:lnTo>
                      <a:pt x="1462" y="79"/>
                    </a:lnTo>
                    <a:lnTo>
                      <a:pt x="1385" y="133"/>
                    </a:lnTo>
                    <a:lnTo>
                      <a:pt x="1273" y="124"/>
                    </a:lnTo>
                    <a:lnTo>
                      <a:pt x="1184" y="135"/>
                    </a:lnTo>
                    <a:lnTo>
                      <a:pt x="1098" y="190"/>
                    </a:lnTo>
                    <a:lnTo>
                      <a:pt x="986" y="214"/>
                    </a:lnTo>
                    <a:lnTo>
                      <a:pt x="881" y="307"/>
                    </a:lnTo>
                    <a:lnTo>
                      <a:pt x="886" y="408"/>
                    </a:lnTo>
                    <a:lnTo>
                      <a:pt x="943" y="489"/>
                    </a:lnTo>
                    <a:lnTo>
                      <a:pt x="597" y="572"/>
                    </a:lnTo>
                    <a:lnTo>
                      <a:pt x="385" y="600"/>
                    </a:lnTo>
                    <a:lnTo>
                      <a:pt x="224" y="572"/>
                    </a:lnTo>
                    <a:lnTo>
                      <a:pt x="66" y="599"/>
                    </a:lnTo>
                    <a:lnTo>
                      <a:pt x="0" y="678"/>
                    </a:lnTo>
                    <a:lnTo>
                      <a:pt x="39" y="742"/>
                    </a:lnTo>
                    <a:lnTo>
                      <a:pt x="31" y="846"/>
                    </a:lnTo>
                    <a:lnTo>
                      <a:pt x="126" y="822"/>
                    </a:lnTo>
                    <a:lnTo>
                      <a:pt x="260" y="838"/>
                    </a:lnTo>
                    <a:lnTo>
                      <a:pt x="230" y="882"/>
                    </a:lnTo>
                    <a:lnTo>
                      <a:pt x="358" y="869"/>
                    </a:lnTo>
                    <a:lnTo>
                      <a:pt x="484" y="779"/>
                    </a:lnTo>
                    <a:lnTo>
                      <a:pt x="612" y="774"/>
                    </a:lnTo>
                    <a:lnTo>
                      <a:pt x="700" y="786"/>
                    </a:lnTo>
                    <a:lnTo>
                      <a:pt x="736" y="870"/>
                    </a:lnTo>
                    <a:lnTo>
                      <a:pt x="866" y="978"/>
                    </a:lnTo>
                    <a:lnTo>
                      <a:pt x="1009" y="977"/>
                    </a:lnTo>
                    <a:lnTo>
                      <a:pt x="1110" y="974"/>
                    </a:lnTo>
                    <a:lnTo>
                      <a:pt x="1228" y="982"/>
                    </a:lnTo>
                    <a:lnTo>
                      <a:pt x="1283" y="1022"/>
                    </a:lnTo>
                    <a:lnTo>
                      <a:pt x="1362" y="982"/>
                    </a:lnTo>
                    <a:lnTo>
                      <a:pt x="1385" y="926"/>
                    </a:lnTo>
                    <a:lnTo>
                      <a:pt x="1495" y="926"/>
                    </a:lnTo>
                    <a:lnTo>
                      <a:pt x="1637" y="886"/>
                    </a:lnTo>
                    <a:lnTo>
                      <a:pt x="1739" y="910"/>
                    </a:lnTo>
                    <a:lnTo>
                      <a:pt x="1849" y="891"/>
                    </a:lnTo>
                    <a:lnTo>
                      <a:pt x="1889" y="677"/>
                    </a:lnTo>
                    <a:lnTo>
                      <a:pt x="1872" y="527"/>
                    </a:lnTo>
                    <a:lnTo>
                      <a:pt x="2019" y="480"/>
                    </a:lnTo>
                    <a:lnTo>
                      <a:pt x="2132" y="432"/>
                    </a:lnTo>
                    <a:lnTo>
                      <a:pt x="1998" y="408"/>
                    </a:lnTo>
                    <a:lnTo>
                      <a:pt x="1964" y="357"/>
                    </a:lnTo>
                    <a:lnTo>
                      <a:pt x="1951" y="249"/>
                    </a:lnTo>
                    <a:lnTo>
                      <a:pt x="1970" y="169"/>
                    </a:lnTo>
                    <a:lnTo>
                      <a:pt x="1967" y="94"/>
                    </a:lnTo>
                    <a:lnTo>
                      <a:pt x="1843" y="115"/>
                    </a:lnTo>
                    <a:lnTo>
                      <a:pt x="1724" y="79"/>
                    </a:lnTo>
                    <a:lnTo>
                      <a:pt x="1667" y="24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09" name="Freeform 33">
                <a:extLst>
                  <a:ext uri="{FF2B5EF4-FFF2-40B4-BE49-F238E27FC236}">
                    <a16:creationId xmlns:a16="http://schemas.microsoft.com/office/drawing/2014/main" id="{6899FE2A-E9D0-EBEC-87B4-86759AA71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8460" y="3688850"/>
                <a:ext cx="793452" cy="464153"/>
              </a:xfrm>
              <a:custGeom>
                <a:avLst/>
                <a:gdLst/>
                <a:ahLst/>
                <a:cxnLst>
                  <a:cxn ang="0">
                    <a:pos x="797" y="0"/>
                  </a:cxn>
                  <a:cxn ang="0">
                    <a:pos x="670" y="3"/>
                  </a:cxn>
                  <a:cxn ang="0">
                    <a:pos x="559" y="20"/>
                  </a:cxn>
                  <a:cxn ang="0">
                    <a:pos x="432" y="47"/>
                  </a:cxn>
                  <a:cxn ang="0">
                    <a:pos x="376" y="75"/>
                  </a:cxn>
                  <a:cxn ang="0">
                    <a:pos x="231" y="170"/>
                  </a:cxn>
                  <a:cxn ang="0">
                    <a:pos x="127" y="290"/>
                  </a:cxn>
                  <a:cxn ang="0">
                    <a:pos x="25" y="394"/>
                  </a:cxn>
                  <a:cxn ang="0">
                    <a:pos x="0" y="538"/>
                  </a:cxn>
                  <a:cxn ang="0">
                    <a:pos x="133" y="485"/>
                  </a:cxn>
                  <a:cxn ang="0">
                    <a:pos x="187" y="550"/>
                  </a:cxn>
                  <a:cxn ang="0">
                    <a:pos x="205" y="663"/>
                  </a:cxn>
                  <a:cxn ang="0">
                    <a:pos x="196" y="738"/>
                  </a:cxn>
                  <a:cxn ang="0">
                    <a:pos x="349" y="739"/>
                  </a:cxn>
                  <a:cxn ang="0">
                    <a:pos x="514" y="679"/>
                  </a:cxn>
                  <a:cxn ang="0">
                    <a:pos x="597" y="526"/>
                  </a:cxn>
                  <a:cxn ang="0">
                    <a:pos x="670" y="598"/>
                  </a:cxn>
                  <a:cxn ang="0">
                    <a:pos x="755" y="654"/>
                  </a:cxn>
                  <a:cxn ang="0">
                    <a:pos x="845" y="571"/>
                  </a:cxn>
                  <a:cxn ang="0">
                    <a:pos x="998" y="535"/>
                  </a:cxn>
                  <a:cxn ang="0">
                    <a:pos x="1127" y="488"/>
                  </a:cxn>
                  <a:cxn ang="0">
                    <a:pos x="1247" y="314"/>
                  </a:cxn>
                  <a:cxn ang="0">
                    <a:pos x="1116" y="297"/>
                  </a:cxn>
                  <a:cxn ang="0">
                    <a:pos x="1013" y="326"/>
                  </a:cxn>
                  <a:cxn ang="0">
                    <a:pos x="1021" y="218"/>
                  </a:cxn>
                  <a:cxn ang="0">
                    <a:pos x="984" y="153"/>
                  </a:cxn>
                  <a:cxn ang="0">
                    <a:pos x="1049" y="75"/>
                  </a:cxn>
                  <a:cxn ang="0">
                    <a:pos x="797" y="0"/>
                  </a:cxn>
                </a:cxnLst>
                <a:rect l="0" t="0" r="r" b="b"/>
                <a:pathLst>
                  <a:path w="1247" h="739">
                    <a:moveTo>
                      <a:pt x="797" y="0"/>
                    </a:moveTo>
                    <a:lnTo>
                      <a:pt x="670" y="3"/>
                    </a:lnTo>
                    <a:lnTo>
                      <a:pt x="559" y="20"/>
                    </a:lnTo>
                    <a:lnTo>
                      <a:pt x="432" y="47"/>
                    </a:lnTo>
                    <a:lnTo>
                      <a:pt x="376" y="75"/>
                    </a:lnTo>
                    <a:lnTo>
                      <a:pt x="231" y="170"/>
                    </a:lnTo>
                    <a:lnTo>
                      <a:pt x="127" y="290"/>
                    </a:lnTo>
                    <a:lnTo>
                      <a:pt x="25" y="394"/>
                    </a:lnTo>
                    <a:lnTo>
                      <a:pt x="0" y="538"/>
                    </a:lnTo>
                    <a:lnTo>
                      <a:pt x="133" y="485"/>
                    </a:lnTo>
                    <a:lnTo>
                      <a:pt x="187" y="550"/>
                    </a:lnTo>
                    <a:lnTo>
                      <a:pt x="205" y="663"/>
                    </a:lnTo>
                    <a:lnTo>
                      <a:pt x="196" y="738"/>
                    </a:lnTo>
                    <a:lnTo>
                      <a:pt x="349" y="739"/>
                    </a:lnTo>
                    <a:lnTo>
                      <a:pt x="514" y="679"/>
                    </a:lnTo>
                    <a:lnTo>
                      <a:pt x="597" y="526"/>
                    </a:lnTo>
                    <a:lnTo>
                      <a:pt x="670" y="598"/>
                    </a:lnTo>
                    <a:lnTo>
                      <a:pt x="755" y="654"/>
                    </a:lnTo>
                    <a:lnTo>
                      <a:pt x="845" y="571"/>
                    </a:lnTo>
                    <a:lnTo>
                      <a:pt x="998" y="535"/>
                    </a:lnTo>
                    <a:lnTo>
                      <a:pt x="1127" y="488"/>
                    </a:lnTo>
                    <a:lnTo>
                      <a:pt x="1247" y="314"/>
                    </a:lnTo>
                    <a:lnTo>
                      <a:pt x="1116" y="297"/>
                    </a:lnTo>
                    <a:lnTo>
                      <a:pt x="1013" y="326"/>
                    </a:lnTo>
                    <a:lnTo>
                      <a:pt x="1021" y="218"/>
                    </a:lnTo>
                    <a:lnTo>
                      <a:pt x="984" y="153"/>
                    </a:lnTo>
                    <a:lnTo>
                      <a:pt x="1049" y="75"/>
                    </a:lnTo>
                    <a:lnTo>
                      <a:pt x="797" y="0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0" name="Freeform 34">
                <a:extLst>
                  <a:ext uri="{FF2B5EF4-FFF2-40B4-BE49-F238E27FC236}">
                    <a16:creationId xmlns:a16="http://schemas.microsoft.com/office/drawing/2014/main" id="{B6AD2C46-97F7-9876-CE89-886D82942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2889" y="2199166"/>
                <a:ext cx="542557" cy="658596"/>
              </a:xfrm>
              <a:custGeom>
                <a:avLst/>
                <a:gdLst/>
                <a:ahLst/>
                <a:cxnLst>
                  <a:cxn ang="0">
                    <a:pos x="650" y="27"/>
                  </a:cxn>
                  <a:cxn ang="0">
                    <a:pos x="548" y="75"/>
                  </a:cxn>
                  <a:cxn ang="0">
                    <a:pos x="447" y="91"/>
                  </a:cxn>
                  <a:cxn ang="0">
                    <a:pos x="345" y="51"/>
                  </a:cxn>
                  <a:cxn ang="0">
                    <a:pos x="337" y="131"/>
                  </a:cxn>
                  <a:cxn ang="0">
                    <a:pos x="368" y="171"/>
                  </a:cxn>
                  <a:cxn ang="0">
                    <a:pos x="376" y="266"/>
                  </a:cxn>
                  <a:cxn ang="0">
                    <a:pos x="431" y="330"/>
                  </a:cxn>
                  <a:cxn ang="0">
                    <a:pos x="415" y="402"/>
                  </a:cxn>
                  <a:cxn ang="0">
                    <a:pos x="329" y="442"/>
                  </a:cxn>
                  <a:cxn ang="0">
                    <a:pos x="290" y="410"/>
                  </a:cxn>
                  <a:cxn ang="0">
                    <a:pos x="282" y="322"/>
                  </a:cxn>
                  <a:cxn ang="0">
                    <a:pos x="251" y="258"/>
                  </a:cxn>
                  <a:cxn ang="0">
                    <a:pos x="172" y="282"/>
                  </a:cxn>
                  <a:cxn ang="0">
                    <a:pos x="125" y="434"/>
                  </a:cxn>
                  <a:cxn ang="0">
                    <a:pos x="94" y="522"/>
                  </a:cxn>
                  <a:cxn ang="0">
                    <a:pos x="71" y="617"/>
                  </a:cxn>
                  <a:cxn ang="0">
                    <a:pos x="0" y="665"/>
                  </a:cxn>
                  <a:cxn ang="0">
                    <a:pos x="16" y="745"/>
                  </a:cxn>
                  <a:cxn ang="0">
                    <a:pos x="110" y="745"/>
                  </a:cxn>
                  <a:cxn ang="0">
                    <a:pos x="55" y="801"/>
                  </a:cxn>
                  <a:cxn ang="0">
                    <a:pos x="65" y="878"/>
                  </a:cxn>
                  <a:cxn ang="0">
                    <a:pos x="177" y="878"/>
                  </a:cxn>
                  <a:cxn ang="0">
                    <a:pos x="288" y="919"/>
                  </a:cxn>
                  <a:cxn ang="0">
                    <a:pos x="382" y="970"/>
                  </a:cxn>
                  <a:cxn ang="0">
                    <a:pos x="473" y="1049"/>
                  </a:cxn>
                  <a:cxn ang="0">
                    <a:pos x="550" y="1015"/>
                  </a:cxn>
                  <a:cxn ang="0">
                    <a:pos x="605" y="932"/>
                  </a:cxn>
                  <a:cxn ang="0">
                    <a:pos x="546" y="842"/>
                  </a:cxn>
                  <a:cxn ang="0">
                    <a:pos x="499" y="740"/>
                  </a:cxn>
                  <a:cxn ang="0">
                    <a:pos x="624" y="686"/>
                  </a:cxn>
                  <a:cxn ang="0">
                    <a:pos x="758" y="675"/>
                  </a:cxn>
                  <a:cxn ang="0">
                    <a:pos x="803" y="394"/>
                  </a:cxn>
                  <a:cxn ang="0">
                    <a:pos x="841" y="257"/>
                  </a:cxn>
                  <a:cxn ang="0">
                    <a:pos x="851" y="111"/>
                  </a:cxn>
                  <a:cxn ang="0">
                    <a:pos x="841" y="0"/>
                  </a:cxn>
                  <a:cxn ang="0">
                    <a:pos x="729" y="51"/>
                  </a:cxn>
                  <a:cxn ang="0">
                    <a:pos x="650" y="27"/>
                  </a:cxn>
                </a:cxnLst>
                <a:rect l="0" t="0" r="r" b="b"/>
                <a:pathLst>
                  <a:path w="851" h="1049">
                    <a:moveTo>
                      <a:pt x="650" y="27"/>
                    </a:moveTo>
                    <a:lnTo>
                      <a:pt x="548" y="75"/>
                    </a:lnTo>
                    <a:lnTo>
                      <a:pt x="447" y="91"/>
                    </a:lnTo>
                    <a:lnTo>
                      <a:pt x="345" y="51"/>
                    </a:lnTo>
                    <a:lnTo>
                      <a:pt x="337" y="131"/>
                    </a:lnTo>
                    <a:lnTo>
                      <a:pt x="368" y="171"/>
                    </a:lnTo>
                    <a:lnTo>
                      <a:pt x="376" y="266"/>
                    </a:lnTo>
                    <a:lnTo>
                      <a:pt x="431" y="330"/>
                    </a:lnTo>
                    <a:lnTo>
                      <a:pt x="415" y="402"/>
                    </a:lnTo>
                    <a:lnTo>
                      <a:pt x="329" y="442"/>
                    </a:lnTo>
                    <a:lnTo>
                      <a:pt x="290" y="410"/>
                    </a:lnTo>
                    <a:lnTo>
                      <a:pt x="282" y="322"/>
                    </a:lnTo>
                    <a:lnTo>
                      <a:pt x="251" y="258"/>
                    </a:lnTo>
                    <a:lnTo>
                      <a:pt x="172" y="282"/>
                    </a:lnTo>
                    <a:lnTo>
                      <a:pt x="125" y="434"/>
                    </a:lnTo>
                    <a:lnTo>
                      <a:pt x="94" y="522"/>
                    </a:lnTo>
                    <a:lnTo>
                      <a:pt x="71" y="617"/>
                    </a:lnTo>
                    <a:lnTo>
                      <a:pt x="0" y="665"/>
                    </a:lnTo>
                    <a:lnTo>
                      <a:pt x="16" y="745"/>
                    </a:lnTo>
                    <a:lnTo>
                      <a:pt x="110" y="745"/>
                    </a:lnTo>
                    <a:lnTo>
                      <a:pt x="55" y="801"/>
                    </a:lnTo>
                    <a:lnTo>
                      <a:pt x="65" y="878"/>
                    </a:lnTo>
                    <a:lnTo>
                      <a:pt x="177" y="878"/>
                    </a:lnTo>
                    <a:lnTo>
                      <a:pt x="288" y="919"/>
                    </a:lnTo>
                    <a:lnTo>
                      <a:pt x="382" y="970"/>
                    </a:lnTo>
                    <a:lnTo>
                      <a:pt x="473" y="1049"/>
                    </a:lnTo>
                    <a:lnTo>
                      <a:pt x="550" y="1015"/>
                    </a:lnTo>
                    <a:lnTo>
                      <a:pt x="605" y="932"/>
                    </a:lnTo>
                    <a:lnTo>
                      <a:pt x="546" y="842"/>
                    </a:lnTo>
                    <a:lnTo>
                      <a:pt x="499" y="740"/>
                    </a:lnTo>
                    <a:lnTo>
                      <a:pt x="624" y="686"/>
                    </a:lnTo>
                    <a:lnTo>
                      <a:pt x="758" y="675"/>
                    </a:lnTo>
                    <a:lnTo>
                      <a:pt x="803" y="394"/>
                    </a:lnTo>
                    <a:lnTo>
                      <a:pt x="841" y="257"/>
                    </a:lnTo>
                    <a:lnTo>
                      <a:pt x="851" y="111"/>
                    </a:lnTo>
                    <a:lnTo>
                      <a:pt x="841" y="0"/>
                    </a:lnTo>
                    <a:lnTo>
                      <a:pt x="729" y="51"/>
                    </a:lnTo>
                    <a:lnTo>
                      <a:pt x="650" y="27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1" name="Freeform 36">
                <a:extLst>
                  <a:ext uri="{FF2B5EF4-FFF2-40B4-BE49-F238E27FC236}">
                    <a16:creationId xmlns:a16="http://schemas.microsoft.com/office/drawing/2014/main" id="{93711F3A-5A5F-DC14-DFAA-48106099AB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304" y="5213030"/>
                <a:ext cx="297936" cy="530012"/>
              </a:xfrm>
              <a:custGeom>
                <a:avLst/>
                <a:gdLst/>
                <a:ahLst/>
                <a:cxnLst>
                  <a:cxn ang="0">
                    <a:pos x="0" y="195"/>
                  </a:cxn>
                  <a:cxn ang="0">
                    <a:pos x="48" y="291"/>
                  </a:cxn>
                  <a:cxn ang="0">
                    <a:pos x="80" y="409"/>
                  </a:cxn>
                  <a:cxn ang="0">
                    <a:pos x="104" y="523"/>
                  </a:cxn>
                  <a:cxn ang="0">
                    <a:pos x="125" y="635"/>
                  </a:cxn>
                  <a:cxn ang="0">
                    <a:pos x="72" y="707"/>
                  </a:cxn>
                  <a:cxn ang="0">
                    <a:pos x="80" y="817"/>
                  </a:cxn>
                  <a:cxn ang="0">
                    <a:pos x="144" y="843"/>
                  </a:cxn>
                  <a:cxn ang="0">
                    <a:pos x="200" y="811"/>
                  </a:cxn>
                  <a:cxn ang="0">
                    <a:pos x="256" y="771"/>
                  </a:cxn>
                  <a:cxn ang="0">
                    <a:pos x="352" y="726"/>
                  </a:cxn>
                  <a:cxn ang="0">
                    <a:pos x="397" y="817"/>
                  </a:cxn>
                  <a:cxn ang="0">
                    <a:pos x="472" y="755"/>
                  </a:cxn>
                  <a:cxn ang="0">
                    <a:pos x="456" y="619"/>
                  </a:cxn>
                  <a:cxn ang="0">
                    <a:pos x="416" y="499"/>
                  </a:cxn>
                  <a:cxn ang="0">
                    <a:pos x="443" y="363"/>
                  </a:cxn>
                  <a:cxn ang="0">
                    <a:pos x="480" y="275"/>
                  </a:cxn>
                  <a:cxn ang="0">
                    <a:pos x="400" y="163"/>
                  </a:cxn>
                  <a:cxn ang="0">
                    <a:pos x="352" y="46"/>
                  </a:cxn>
                  <a:cxn ang="0">
                    <a:pos x="307" y="0"/>
                  </a:cxn>
                  <a:cxn ang="0">
                    <a:pos x="248" y="67"/>
                  </a:cxn>
                  <a:cxn ang="0">
                    <a:pos x="200" y="123"/>
                  </a:cxn>
                  <a:cxn ang="0">
                    <a:pos x="125" y="182"/>
                  </a:cxn>
                  <a:cxn ang="0">
                    <a:pos x="72" y="179"/>
                  </a:cxn>
                  <a:cxn ang="0">
                    <a:pos x="0" y="195"/>
                  </a:cxn>
                </a:cxnLst>
                <a:rect l="0" t="0" r="r" b="b"/>
                <a:pathLst>
                  <a:path w="480" h="843">
                    <a:moveTo>
                      <a:pt x="0" y="195"/>
                    </a:moveTo>
                    <a:lnTo>
                      <a:pt x="48" y="291"/>
                    </a:lnTo>
                    <a:lnTo>
                      <a:pt x="80" y="409"/>
                    </a:lnTo>
                    <a:lnTo>
                      <a:pt x="104" y="523"/>
                    </a:lnTo>
                    <a:lnTo>
                      <a:pt x="125" y="635"/>
                    </a:lnTo>
                    <a:lnTo>
                      <a:pt x="72" y="707"/>
                    </a:lnTo>
                    <a:lnTo>
                      <a:pt x="80" y="817"/>
                    </a:lnTo>
                    <a:lnTo>
                      <a:pt x="144" y="843"/>
                    </a:lnTo>
                    <a:lnTo>
                      <a:pt x="200" y="811"/>
                    </a:lnTo>
                    <a:lnTo>
                      <a:pt x="256" y="771"/>
                    </a:lnTo>
                    <a:lnTo>
                      <a:pt x="352" y="726"/>
                    </a:lnTo>
                    <a:lnTo>
                      <a:pt x="397" y="817"/>
                    </a:lnTo>
                    <a:lnTo>
                      <a:pt x="472" y="755"/>
                    </a:lnTo>
                    <a:lnTo>
                      <a:pt x="456" y="619"/>
                    </a:lnTo>
                    <a:lnTo>
                      <a:pt x="416" y="499"/>
                    </a:lnTo>
                    <a:lnTo>
                      <a:pt x="443" y="363"/>
                    </a:lnTo>
                    <a:lnTo>
                      <a:pt x="480" y="275"/>
                    </a:lnTo>
                    <a:lnTo>
                      <a:pt x="400" y="163"/>
                    </a:lnTo>
                    <a:lnTo>
                      <a:pt x="352" y="46"/>
                    </a:lnTo>
                    <a:lnTo>
                      <a:pt x="307" y="0"/>
                    </a:lnTo>
                    <a:lnTo>
                      <a:pt x="248" y="67"/>
                    </a:lnTo>
                    <a:lnTo>
                      <a:pt x="200" y="123"/>
                    </a:lnTo>
                    <a:lnTo>
                      <a:pt x="125" y="182"/>
                    </a:lnTo>
                    <a:lnTo>
                      <a:pt x="72" y="179"/>
                    </a:lnTo>
                    <a:lnTo>
                      <a:pt x="0" y="195"/>
                    </a:lnTo>
                    <a:close/>
                  </a:path>
                </a:pathLst>
              </a:custGeom>
              <a:solidFill>
                <a:srgbClr val="8E0062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2" name="Freeform 37">
                <a:extLst>
                  <a:ext uri="{FF2B5EF4-FFF2-40B4-BE49-F238E27FC236}">
                    <a16:creationId xmlns:a16="http://schemas.microsoft.com/office/drawing/2014/main" id="{55A5BA33-01D6-1920-7B05-7903BF764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0619" y="5902986"/>
                <a:ext cx="526876" cy="348113"/>
              </a:xfrm>
              <a:custGeom>
                <a:avLst/>
                <a:gdLst/>
                <a:ahLst/>
                <a:cxnLst>
                  <a:cxn ang="0">
                    <a:pos x="676" y="489"/>
                  </a:cxn>
                  <a:cxn ang="0">
                    <a:pos x="585" y="444"/>
                  </a:cxn>
                  <a:cxn ang="0">
                    <a:pos x="520" y="400"/>
                  </a:cxn>
                  <a:cxn ang="0">
                    <a:pos x="449" y="398"/>
                  </a:cxn>
                  <a:cxn ang="0">
                    <a:pos x="352" y="376"/>
                  </a:cxn>
                  <a:cxn ang="0">
                    <a:pos x="267" y="307"/>
                  </a:cxn>
                  <a:cxn ang="0">
                    <a:pos x="136" y="232"/>
                  </a:cxn>
                  <a:cxn ang="0">
                    <a:pos x="41" y="217"/>
                  </a:cxn>
                  <a:cxn ang="0">
                    <a:pos x="0" y="160"/>
                  </a:cxn>
                  <a:cxn ang="0">
                    <a:pos x="8" y="72"/>
                  </a:cxn>
                  <a:cxn ang="0">
                    <a:pos x="88" y="72"/>
                  </a:cxn>
                  <a:cxn ang="0">
                    <a:pos x="168" y="80"/>
                  </a:cxn>
                  <a:cxn ang="0">
                    <a:pos x="232" y="0"/>
                  </a:cxn>
                  <a:cxn ang="0">
                    <a:pos x="313" y="81"/>
                  </a:cxn>
                  <a:cxn ang="0">
                    <a:pos x="472" y="96"/>
                  </a:cxn>
                  <a:cxn ang="0">
                    <a:pos x="630" y="81"/>
                  </a:cxn>
                  <a:cxn ang="0">
                    <a:pos x="752" y="72"/>
                  </a:cxn>
                  <a:cxn ang="0">
                    <a:pos x="840" y="96"/>
                  </a:cxn>
                  <a:cxn ang="0">
                    <a:pos x="800" y="168"/>
                  </a:cxn>
                  <a:cxn ang="0">
                    <a:pos x="760" y="312"/>
                  </a:cxn>
                  <a:cxn ang="0">
                    <a:pos x="816" y="408"/>
                  </a:cxn>
                  <a:cxn ang="0">
                    <a:pos x="792" y="488"/>
                  </a:cxn>
                  <a:cxn ang="0">
                    <a:pos x="768" y="552"/>
                  </a:cxn>
                  <a:cxn ang="0">
                    <a:pos x="676" y="489"/>
                  </a:cxn>
                </a:cxnLst>
                <a:rect l="0" t="0" r="r" b="b"/>
                <a:pathLst>
                  <a:path w="840" h="552">
                    <a:moveTo>
                      <a:pt x="676" y="489"/>
                    </a:moveTo>
                    <a:lnTo>
                      <a:pt x="585" y="444"/>
                    </a:lnTo>
                    <a:lnTo>
                      <a:pt x="520" y="400"/>
                    </a:lnTo>
                    <a:lnTo>
                      <a:pt x="449" y="398"/>
                    </a:lnTo>
                    <a:lnTo>
                      <a:pt x="352" y="376"/>
                    </a:lnTo>
                    <a:lnTo>
                      <a:pt x="267" y="307"/>
                    </a:lnTo>
                    <a:lnTo>
                      <a:pt x="136" y="232"/>
                    </a:lnTo>
                    <a:lnTo>
                      <a:pt x="41" y="217"/>
                    </a:lnTo>
                    <a:lnTo>
                      <a:pt x="0" y="160"/>
                    </a:lnTo>
                    <a:lnTo>
                      <a:pt x="8" y="72"/>
                    </a:lnTo>
                    <a:lnTo>
                      <a:pt x="88" y="72"/>
                    </a:lnTo>
                    <a:lnTo>
                      <a:pt x="168" y="80"/>
                    </a:lnTo>
                    <a:lnTo>
                      <a:pt x="232" y="0"/>
                    </a:lnTo>
                    <a:lnTo>
                      <a:pt x="313" y="81"/>
                    </a:lnTo>
                    <a:lnTo>
                      <a:pt x="472" y="96"/>
                    </a:lnTo>
                    <a:lnTo>
                      <a:pt x="630" y="81"/>
                    </a:lnTo>
                    <a:lnTo>
                      <a:pt x="752" y="72"/>
                    </a:lnTo>
                    <a:lnTo>
                      <a:pt x="840" y="96"/>
                    </a:lnTo>
                    <a:lnTo>
                      <a:pt x="800" y="168"/>
                    </a:lnTo>
                    <a:lnTo>
                      <a:pt x="760" y="312"/>
                    </a:lnTo>
                    <a:lnTo>
                      <a:pt x="816" y="408"/>
                    </a:lnTo>
                    <a:lnTo>
                      <a:pt x="792" y="488"/>
                    </a:lnTo>
                    <a:lnTo>
                      <a:pt x="768" y="552"/>
                    </a:lnTo>
                    <a:lnTo>
                      <a:pt x="676" y="489"/>
                    </a:lnTo>
                    <a:close/>
                  </a:path>
                </a:pathLst>
              </a:custGeom>
              <a:solidFill>
                <a:srgbClr val="8E0062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3" name="Freeform 38">
                <a:extLst>
                  <a:ext uri="{FF2B5EF4-FFF2-40B4-BE49-F238E27FC236}">
                    <a16:creationId xmlns:a16="http://schemas.microsoft.com/office/drawing/2014/main" id="{2C09B313-19F2-3958-0F89-090757258A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6932" y="4842961"/>
                <a:ext cx="156808" cy="313617"/>
              </a:xfrm>
              <a:custGeom>
                <a:avLst/>
                <a:gdLst/>
                <a:ahLst/>
                <a:cxnLst>
                  <a:cxn ang="0">
                    <a:pos x="181" y="0"/>
                  </a:cxn>
                  <a:cxn ang="0">
                    <a:pos x="253" y="200"/>
                  </a:cxn>
                  <a:cxn ang="0">
                    <a:pos x="226" y="363"/>
                  </a:cxn>
                  <a:cxn ang="0">
                    <a:pos x="181" y="499"/>
                  </a:cxn>
                  <a:cxn ang="0">
                    <a:pos x="77" y="488"/>
                  </a:cxn>
                  <a:cxn ang="0">
                    <a:pos x="45" y="363"/>
                  </a:cxn>
                  <a:cxn ang="0">
                    <a:pos x="0" y="272"/>
                  </a:cxn>
                  <a:cxn ang="0">
                    <a:pos x="21" y="184"/>
                  </a:cxn>
                  <a:cxn ang="0">
                    <a:pos x="90" y="90"/>
                  </a:cxn>
                  <a:cxn ang="0">
                    <a:pos x="181" y="0"/>
                  </a:cxn>
                </a:cxnLst>
                <a:rect l="0" t="0" r="r" b="b"/>
                <a:pathLst>
                  <a:path w="253" h="499">
                    <a:moveTo>
                      <a:pt x="181" y="0"/>
                    </a:moveTo>
                    <a:lnTo>
                      <a:pt x="253" y="200"/>
                    </a:lnTo>
                    <a:lnTo>
                      <a:pt x="226" y="363"/>
                    </a:lnTo>
                    <a:lnTo>
                      <a:pt x="181" y="499"/>
                    </a:lnTo>
                    <a:lnTo>
                      <a:pt x="77" y="488"/>
                    </a:lnTo>
                    <a:lnTo>
                      <a:pt x="45" y="363"/>
                    </a:lnTo>
                    <a:lnTo>
                      <a:pt x="0" y="272"/>
                    </a:lnTo>
                    <a:lnTo>
                      <a:pt x="21" y="184"/>
                    </a:lnTo>
                    <a:lnTo>
                      <a:pt x="90" y="9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8E0062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4" name="Freeform 39">
                <a:extLst>
                  <a:ext uri="{FF2B5EF4-FFF2-40B4-BE49-F238E27FC236}">
                    <a16:creationId xmlns:a16="http://schemas.microsoft.com/office/drawing/2014/main" id="{BDCBBD65-3133-7F68-FCEF-97D9EB70E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609" y="3917787"/>
                <a:ext cx="564511" cy="301072"/>
              </a:xfrm>
              <a:custGeom>
                <a:avLst/>
                <a:gdLst/>
                <a:ahLst/>
                <a:cxnLst>
                  <a:cxn ang="0">
                    <a:pos x="56" y="342"/>
                  </a:cxn>
                  <a:cxn ang="0">
                    <a:pos x="141" y="418"/>
                  </a:cxn>
                  <a:cxn ang="0">
                    <a:pos x="179" y="478"/>
                  </a:cxn>
                  <a:cxn ang="0">
                    <a:pos x="277" y="472"/>
                  </a:cxn>
                  <a:cxn ang="0">
                    <a:pos x="357" y="478"/>
                  </a:cxn>
                  <a:cxn ang="0">
                    <a:pos x="473" y="454"/>
                  </a:cxn>
                  <a:cxn ang="0">
                    <a:pos x="544" y="472"/>
                  </a:cxn>
                  <a:cxn ang="0">
                    <a:pos x="615" y="365"/>
                  </a:cxn>
                  <a:cxn ang="0">
                    <a:pos x="656" y="335"/>
                  </a:cxn>
                  <a:cxn ang="0">
                    <a:pos x="638" y="228"/>
                  </a:cxn>
                  <a:cxn ang="0">
                    <a:pos x="644" y="156"/>
                  </a:cxn>
                  <a:cxn ang="0">
                    <a:pos x="668" y="114"/>
                  </a:cxn>
                  <a:cxn ang="0">
                    <a:pos x="745" y="156"/>
                  </a:cxn>
                  <a:cxn ang="0">
                    <a:pos x="828" y="144"/>
                  </a:cxn>
                  <a:cxn ang="0">
                    <a:pos x="884" y="99"/>
                  </a:cxn>
                  <a:cxn ang="0">
                    <a:pos x="837" y="4"/>
                  </a:cxn>
                  <a:cxn ang="0">
                    <a:pos x="730" y="22"/>
                  </a:cxn>
                  <a:cxn ang="0">
                    <a:pos x="623" y="0"/>
                  </a:cxn>
                  <a:cxn ang="0">
                    <a:pos x="484" y="40"/>
                  </a:cxn>
                  <a:cxn ang="0">
                    <a:pos x="371" y="39"/>
                  </a:cxn>
                  <a:cxn ang="0">
                    <a:pos x="350" y="96"/>
                  </a:cxn>
                  <a:cxn ang="0">
                    <a:pos x="270" y="134"/>
                  </a:cxn>
                  <a:cxn ang="0">
                    <a:pos x="214" y="93"/>
                  </a:cxn>
                  <a:cxn ang="0">
                    <a:pos x="100" y="87"/>
                  </a:cxn>
                  <a:cxn ang="0">
                    <a:pos x="0" y="91"/>
                  </a:cxn>
                  <a:cxn ang="0">
                    <a:pos x="56" y="220"/>
                  </a:cxn>
                  <a:cxn ang="0">
                    <a:pos x="56" y="342"/>
                  </a:cxn>
                </a:cxnLst>
                <a:rect l="0" t="0" r="r" b="b"/>
                <a:pathLst>
                  <a:path w="884" h="478">
                    <a:moveTo>
                      <a:pt x="56" y="342"/>
                    </a:moveTo>
                    <a:lnTo>
                      <a:pt x="141" y="418"/>
                    </a:lnTo>
                    <a:lnTo>
                      <a:pt x="179" y="478"/>
                    </a:lnTo>
                    <a:lnTo>
                      <a:pt x="277" y="472"/>
                    </a:lnTo>
                    <a:lnTo>
                      <a:pt x="357" y="478"/>
                    </a:lnTo>
                    <a:lnTo>
                      <a:pt x="473" y="454"/>
                    </a:lnTo>
                    <a:lnTo>
                      <a:pt x="544" y="472"/>
                    </a:lnTo>
                    <a:lnTo>
                      <a:pt x="615" y="365"/>
                    </a:lnTo>
                    <a:lnTo>
                      <a:pt x="656" y="335"/>
                    </a:lnTo>
                    <a:lnTo>
                      <a:pt x="638" y="228"/>
                    </a:lnTo>
                    <a:lnTo>
                      <a:pt x="644" y="156"/>
                    </a:lnTo>
                    <a:lnTo>
                      <a:pt x="668" y="114"/>
                    </a:lnTo>
                    <a:lnTo>
                      <a:pt x="745" y="156"/>
                    </a:lnTo>
                    <a:lnTo>
                      <a:pt x="828" y="144"/>
                    </a:lnTo>
                    <a:lnTo>
                      <a:pt x="884" y="99"/>
                    </a:lnTo>
                    <a:lnTo>
                      <a:pt x="837" y="4"/>
                    </a:lnTo>
                    <a:lnTo>
                      <a:pt x="730" y="22"/>
                    </a:lnTo>
                    <a:lnTo>
                      <a:pt x="623" y="0"/>
                    </a:lnTo>
                    <a:lnTo>
                      <a:pt x="484" y="40"/>
                    </a:lnTo>
                    <a:lnTo>
                      <a:pt x="371" y="39"/>
                    </a:lnTo>
                    <a:lnTo>
                      <a:pt x="350" y="96"/>
                    </a:lnTo>
                    <a:lnTo>
                      <a:pt x="270" y="134"/>
                    </a:lnTo>
                    <a:lnTo>
                      <a:pt x="214" y="93"/>
                    </a:lnTo>
                    <a:lnTo>
                      <a:pt x="100" y="87"/>
                    </a:lnTo>
                    <a:lnTo>
                      <a:pt x="0" y="91"/>
                    </a:lnTo>
                    <a:lnTo>
                      <a:pt x="56" y="220"/>
                    </a:lnTo>
                    <a:lnTo>
                      <a:pt x="56" y="342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5" name="Freeform 47">
                <a:extLst>
                  <a:ext uri="{FF2B5EF4-FFF2-40B4-BE49-F238E27FC236}">
                    <a16:creationId xmlns:a16="http://schemas.microsoft.com/office/drawing/2014/main" id="{1B7CF88E-C014-B64A-6AB5-23645175D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0825" y="3140018"/>
                <a:ext cx="65860" cy="87812"/>
              </a:xfrm>
              <a:custGeom>
                <a:avLst/>
                <a:gdLst/>
                <a:ahLst/>
                <a:cxnLst>
                  <a:cxn ang="0">
                    <a:pos x="27" y="616"/>
                  </a:cxn>
                  <a:cxn ang="0">
                    <a:pos x="0" y="486"/>
                  </a:cxn>
                  <a:cxn ang="0">
                    <a:pos x="27" y="390"/>
                  </a:cxn>
                  <a:cxn ang="0">
                    <a:pos x="97" y="319"/>
                  </a:cxn>
                  <a:cxn ang="0">
                    <a:pos x="118" y="208"/>
                  </a:cxn>
                  <a:cxn ang="0">
                    <a:pos x="250" y="56"/>
                  </a:cxn>
                  <a:cxn ang="0">
                    <a:pos x="257" y="0"/>
                  </a:cxn>
                  <a:cxn ang="0">
                    <a:pos x="347" y="14"/>
                  </a:cxn>
                  <a:cxn ang="0">
                    <a:pos x="435" y="27"/>
                  </a:cxn>
                  <a:cxn ang="0">
                    <a:pos x="480" y="163"/>
                  </a:cxn>
                  <a:cxn ang="0">
                    <a:pos x="480" y="299"/>
                  </a:cxn>
                  <a:cxn ang="0">
                    <a:pos x="541" y="396"/>
                  </a:cxn>
                  <a:cxn ang="0">
                    <a:pos x="583" y="493"/>
                  </a:cxn>
                  <a:cxn ang="0">
                    <a:pos x="662" y="526"/>
                  </a:cxn>
                  <a:cxn ang="0">
                    <a:pos x="753" y="616"/>
                  </a:cxn>
                  <a:cxn ang="0">
                    <a:pos x="909" y="646"/>
                  </a:cxn>
                  <a:cxn ang="0">
                    <a:pos x="888" y="777"/>
                  </a:cxn>
                  <a:cxn ang="0">
                    <a:pos x="798" y="889"/>
                  </a:cxn>
                  <a:cxn ang="0">
                    <a:pos x="707" y="1115"/>
                  </a:cxn>
                  <a:cxn ang="0">
                    <a:pos x="707" y="1251"/>
                  </a:cxn>
                  <a:cxn ang="0">
                    <a:pos x="571" y="1161"/>
                  </a:cxn>
                  <a:cxn ang="0">
                    <a:pos x="480" y="1206"/>
                  </a:cxn>
                  <a:cxn ang="0">
                    <a:pos x="390" y="1251"/>
                  </a:cxn>
                  <a:cxn ang="0">
                    <a:pos x="284" y="1256"/>
                  </a:cxn>
                  <a:cxn ang="0">
                    <a:pos x="208" y="1206"/>
                  </a:cxn>
                  <a:cxn ang="0">
                    <a:pos x="118" y="1161"/>
                  </a:cxn>
                  <a:cxn ang="0">
                    <a:pos x="72" y="1115"/>
                  </a:cxn>
                  <a:cxn ang="0">
                    <a:pos x="125" y="1055"/>
                  </a:cxn>
                  <a:cxn ang="0">
                    <a:pos x="163" y="979"/>
                  </a:cxn>
                  <a:cxn ang="0">
                    <a:pos x="139" y="888"/>
                  </a:cxn>
                  <a:cxn ang="0">
                    <a:pos x="118" y="798"/>
                  </a:cxn>
                  <a:cxn ang="0">
                    <a:pos x="27" y="662"/>
                  </a:cxn>
                  <a:cxn ang="0">
                    <a:pos x="7" y="569"/>
                  </a:cxn>
                  <a:cxn ang="0">
                    <a:pos x="27" y="616"/>
                  </a:cxn>
                </a:cxnLst>
                <a:rect l="0" t="0" r="r" b="b"/>
                <a:pathLst>
                  <a:path w="909" h="1256">
                    <a:moveTo>
                      <a:pt x="27" y="616"/>
                    </a:moveTo>
                    <a:lnTo>
                      <a:pt x="0" y="486"/>
                    </a:lnTo>
                    <a:lnTo>
                      <a:pt x="27" y="390"/>
                    </a:lnTo>
                    <a:lnTo>
                      <a:pt x="97" y="319"/>
                    </a:lnTo>
                    <a:lnTo>
                      <a:pt x="118" y="208"/>
                    </a:lnTo>
                    <a:lnTo>
                      <a:pt x="250" y="56"/>
                    </a:lnTo>
                    <a:lnTo>
                      <a:pt x="257" y="0"/>
                    </a:lnTo>
                    <a:lnTo>
                      <a:pt x="347" y="14"/>
                    </a:lnTo>
                    <a:lnTo>
                      <a:pt x="435" y="27"/>
                    </a:lnTo>
                    <a:lnTo>
                      <a:pt x="480" y="163"/>
                    </a:lnTo>
                    <a:lnTo>
                      <a:pt x="480" y="299"/>
                    </a:lnTo>
                    <a:lnTo>
                      <a:pt x="541" y="396"/>
                    </a:lnTo>
                    <a:lnTo>
                      <a:pt x="583" y="493"/>
                    </a:lnTo>
                    <a:lnTo>
                      <a:pt x="662" y="526"/>
                    </a:lnTo>
                    <a:lnTo>
                      <a:pt x="753" y="616"/>
                    </a:lnTo>
                    <a:lnTo>
                      <a:pt x="909" y="646"/>
                    </a:lnTo>
                    <a:lnTo>
                      <a:pt x="888" y="777"/>
                    </a:lnTo>
                    <a:lnTo>
                      <a:pt x="798" y="889"/>
                    </a:lnTo>
                    <a:lnTo>
                      <a:pt x="707" y="1115"/>
                    </a:lnTo>
                    <a:lnTo>
                      <a:pt x="707" y="1251"/>
                    </a:lnTo>
                    <a:lnTo>
                      <a:pt x="571" y="1161"/>
                    </a:lnTo>
                    <a:lnTo>
                      <a:pt x="480" y="1206"/>
                    </a:lnTo>
                    <a:lnTo>
                      <a:pt x="390" y="1251"/>
                    </a:lnTo>
                    <a:lnTo>
                      <a:pt x="284" y="1256"/>
                    </a:lnTo>
                    <a:lnTo>
                      <a:pt x="208" y="1206"/>
                    </a:lnTo>
                    <a:lnTo>
                      <a:pt x="118" y="1161"/>
                    </a:lnTo>
                    <a:lnTo>
                      <a:pt x="72" y="1115"/>
                    </a:lnTo>
                    <a:lnTo>
                      <a:pt x="125" y="1055"/>
                    </a:lnTo>
                    <a:lnTo>
                      <a:pt x="163" y="979"/>
                    </a:lnTo>
                    <a:lnTo>
                      <a:pt x="139" y="888"/>
                    </a:lnTo>
                    <a:lnTo>
                      <a:pt x="118" y="798"/>
                    </a:lnTo>
                    <a:lnTo>
                      <a:pt x="27" y="662"/>
                    </a:lnTo>
                    <a:lnTo>
                      <a:pt x="7" y="569"/>
                    </a:lnTo>
                    <a:lnTo>
                      <a:pt x="27" y="616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  <p:sp>
            <p:nvSpPr>
              <p:cNvPr id="116" name="Freeform 48">
                <a:extLst>
                  <a:ext uri="{FF2B5EF4-FFF2-40B4-BE49-F238E27FC236}">
                    <a16:creationId xmlns:a16="http://schemas.microsoft.com/office/drawing/2014/main" id="{B8CD5FB7-1480-6F1B-7DD9-30EE8889D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101" y="4880594"/>
                <a:ext cx="47041" cy="40769"/>
              </a:xfrm>
              <a:custGeom>
                <a:avLst/>
                <a:gdLst/>
                <a:ahLst/>
                <a:cxnLst>
                  <a:cxn ang="0">
                    <a:pos x="66" y="26"/>
                  </a:cxn>
                  <a:cxn ang="0">
                    <a:pos x="68" y="38"/>
                  </a:cxn>
                  <a:cxn ang="0">
                    <a:pos x="63" y="45"/>
                  </a:cxn>
                  <a:cxn ang="0">
                    <a:pos x="53" y="44"/>
                  </a:cxn>
                  <a:cxn ang="0">
                    <a:pos x="51" y="52"/>
                  </a:cxn>
                  <a:cxn ang="0">
                    <a:pos x="39" y="51"/>
                  </a:cxn>
                  <a:cxn ang="0">
                    <a:pos x="30" y="55"/>
                  </a:cxn>
                  <a:cxn ang="0">
                    <a:pos x="24" y="60"/>
                  </a:cxn>
                  <a:cxn ang="0">
                    <a:pos x="8" y="62"/>
                  </a:cxn>
                  <a:cxn ang="0">
                    <a:pos x="7" y="52"/>
                  </a:cxn>
                  <a:cxn ang="0">
                    <a:pos x="2" y="44"/>
                  </a:cxn>
                  <a:cxn ang="0">
                    <a:pos x="0" y="31"/>
                  </a:cxn>
                  <a:cxn ang="0">
                    <a:pos x="0" y="20"/>
                  </a:cxn>
                  <a:cxn ang="0">
                    <a:pos x="7" y="13"/>
                  </a:cxn>
                  <a:cxn ang="0">
                    <a:pos x="14" y="0"/>
                  </a:cxn>
                  <a:cxn ang="0">
                    <a:pos x="31" y="0"/>
                  </a:cxn>
                  <a:cxn ang="0">
                    <a:pos x="38" y="5"/>
                  </a:cxn>
                  <a:cxn ang="0">
                    <a:pos x="67" y="8"/>
                  </a:cxn>
                  <a:cxn ang="0">
                    <a:pos x="66" y="17"/>
                  </a:cxn>
                  <a:cxn ang="0">
                    <a:pos x="74" y="22"/>
                  </a:cxn>
                  <a:cxn ang="0">
                    <a:pos x="66" y="26"/>
                  </a:cxn>
                </a:cxnLst>
                <a:rect l="0" t="0" r="r" b="b"/>
                <a:pathLst>
                  <a:path w="74" h="62">
                    <a:moveTo>
                      <a:pt x="66" y="26"/>
                    </a:moveTo>
                    <a:lnTo>
                      <a:pt x="68" y="38"/>
                    </a:lnTo>
                    <a:lnTo>
                      <a:pt x="63" y="45"/>
                    </a:lnTo>
                    <a:lnTo>
                      <a:pt x="53" y="44"/>
                    </a:lnTo>
                    <a:lnTo>
                      <a:pt x="51" y="52"/>
                    </a:lnTo>
                    <a:lnTo>
                      <a:pt x="39" y="51"/>
                    </a:lnTo>
                    <a:lnTo>
                      <a:pt x="30" y="55"/>
                    </a:lnTo>
                    <a:lnTo>
                      <a:pt x="24" y="60"/>
                    </a:lnTo>
                    <a:lnTo>
                      <a:pt x="8" y="62"/>
                    </a:lnTo>
                    <a:lnTo>
                      <a:pt x="7" y="52"/>
                    </a:lnTo>
                    <a:lnTo>
                      <a:pt x="2" y="44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7" y="13"/>
                    </a:lnTo>
                    <a:lnTo>
                      <a:pt x="14" y="0"/>
                    </a:lnTo>
                    <a:lnTo>
                      <a:pt x="31" y="0"/>
                    </a:lnTo>
                    <a:lnTo>
                      <a:pt x="38" y="5"/>
                    </a:lnTo>
                    <a:lnTo>
                      <a:pt x="67" y="8"/>
                    </a:lnTo>
                    <a:lnTo>
                      <a:pt x="66" y="17"/>
                    </a:lnTo>
                    <a:lnTo>
                      <a:pt x="74" y="22"/>
                    </a:lnTo>
                    <a:lnTo>
                      <a:pt x="66" y="26"/>
                    </a:lnTo>
                    <a:close/>
                  </a:path>
                </a:pathLst>
              </a:custGeom>
              <a:solidFill>
                <a:srgbClr val="4B4B4D">
                  <a:lumMod val="20000"/>
                  <a:lumOff val="80000"/>
                </a:srgbClr>
              </a:solidFill>
              <a:ln w="63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宋体" panose="02010600030101010101" pitchFamily="2" charset="-122"/>
                  <a:cs typeface="Arial"/>
                  <a:sym typeface="Arial"/>
                </a:endParaRPr>
              </a:p>
            </p:txBody>
          </p:sp>
        </p:grpSp>
        <p:pic>
          <p:nvPicPr>
            <p:cNvPr id="95" name="Image 126">
              <a:extLst>
                <a:ext uri="{FF2B5EF4-FFF2-40B4-BE49-F238E27FC236}">
                  <a16:creationId xmlns:a16="http://schemas.microsoft.com/office/drawing/2014/main" id="{869CE611-D87C-B1F1-E7CF-8A4A01BE5E28}"/>
                </a:ext>
              </a:extLst>
            </p:cNvPr>
            <p:cNvPicPr>
              <a:picLocks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4957473" y="3034331"/>
              <a:ext cx="193857" cy="190426"/>
            </a:xfrm>
            <a:prstGeom prst="rect">
              <a:avLst/>
            </a:prstGeom>
          </p:spPr>
        </p:pic>
        <p:sp>
          <p:nvSpPr>
            <p:cNvPr id="96" name="TextBox 142">
              <a:extLst>
                <a:ext uri="{FF2B5EF4-FFF2-40B4-BE49-F238E27FC236}">
                  <a16:creationId xmlns:a16="http://schemas.microsoft.com/office/drawing/2014/main" id="{A32153B6-AA87-2F80-C318-DF10C8C48809}"/>
                </a:ext>
              </a:extLst>
            </p:cNvPr>
            <p:cNvSpPr txBox="1"/>
            <p:nvPr/>
          </p:nvSpPr>
          <p:spPr>
            <a:xfrm>
              <a:off x="4549430" y="1244227"/>
              <a:ext cx="1313618" cy="392196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Belgio</a:t>
              </a: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~9,200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 </a:t>
              </a: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posti </a:t>
              </a:r>
              <a:r>
                <a:rPr kumimoji="0" lang="en-GB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letto</a:t>
              </a: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</p:txBody>
        </p:sp>
        <p:pic>
          <p:nvPicPr>
            <p:cNvPr id="97" name="Image 129">
              <a:extLst>
                <a:ext uri="{FF2B5EF4-FFF2-40B4-BE49-F238E27FC236}">
                  <a16:creationId xmlns:a16="http://schemas.microsoft.com/office/drawing/2014/main" id="{EEFAAFDE-0D6E-1A90-B719-CC73C00D659C}"/>
                </a:ext>
              </a:extLst>
            </p:cNvPr>
            <p:cNvPicPr>
              <a:picLocks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5831939" y="1635700"/>
              <a:ext cx="193857" cy="190426"/>
            </a:xfrm>
            <a:prstGeom prst="rect">
              <a:avLst/>
            </a:prstGeom>
          </p:spPr>
        </p:pic>
        <p:pic>
          <p:nvPicPr>
            <p:cNvPr id="98" name="Image 131">
              <a:extLst>
                <a:ext uri="{FF2B5EF4-FFF2-40B4-BE49-F238E27FC236}">
                  <a16:creationId xmlns:a16="http://schemas.microsoft.com/office/drawing/2014/main" id="{2AA60F9B-0EAA-DFF0-ECE4-357CEFF8D17E}"/>
                </a:ext>
              </a:extLst>
            </p:cNvPr>
            <p:cNvPicPr>
              <a:picLocks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5600859" y="2204943"/>
              <a:ext cx="193857" cy="190426"/>
            </a:xfrm>
            <a:prstGeom prst="rect">
              <a:avLst/>
            </a:prstGeom>
          </p:spPr>
        </p:pic>
        <p:sp>
          <p:nvSpPr>
            <p:cNvPr id="99" name="TextBox 144">
              <a:extLst>
                <a:ext uri="{FF2B5EF4-FFF2-40B4-BE49-F238E27FC236}">
                  <a16:creationId xmlns:a16="http://schemas.microsoft.com/office/drawing/2014/main" id="{4A33B2A3-5FA8-4E72-3EA7-A6E4CBA2C012}"/>
                </a:ext>
              </a:extLst>
            </p:cNvPr>
            <p:cNvSpPr txBox="1"/>
            <p:nvPr/>
          </p:nvSpPr>
          <p:spPr>
            <a:xfrm>
              <a:off x="3231500" y="1943201"/>
              <a:ext cx="1930100" cy="380480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Francia</a:t>
              </a:r>
              <a:endParaRPr kumimoji="0" lang="en-GB" sz="1000" b="0" i="0" u="none" strike="noStrike" kern="0" cap="none" spc="0" normalizeH="0" baseline="3000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~13,200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 </a:t>
              </a:r>
              <a:r>
                <a:rPr kumimoji="0" lang="en-GB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posti</a:t>
              </a: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 </a:t>
              </a:r>
              <a:r>
                <a:rPr kumimoji="0" lang="en-GB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letto</a:t>
              </a: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</p:txBody>
        </p:sp>
        <p:sp>
          <p:nvSpPr>
            <p:cNvPr id="100" name="TextBox 150">
              <a:extLst>
                <a:ext uri="{FF2B5EF4-FFF2-40B4-BE49-F238E27FC236}">
                  <a16:creationId xmlns:a16="http://schemas.microsoft.com/office/drawing/2014/main" id="{CD4DD184-A9FF-2567-3BDC-DD6F52060C93}"/>
                </a:ext>
              </a:extLst>
            </p:cNvPr>
            <p:cNvSpPr txBox="1"/>
            <p:nvPr/>
          </p:nvSpPr>
          <p:spPr>
            <a:xfrm>
              <a:off x="7444896" y="2576299"/>
              <a:ext cx="1500190" cy="392196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3">
                      <a:lumMod val="75000"/>
                    </a:schemeClr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Itali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~1,800 </a:t>
              </a: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posti </a:t>
              </a:r>
              <a:r>
                <a:rPr kumimoji="0" lang="en-GB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letto</a:t>
              </a:r>
              <a:endPara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</p:txBody>
        </p:sp>
        <p:pic>
          <p:nvPicPr>
            <p:cNvPr id="101" name="Image 135">
              <a:extLst>
                <a:ext uri="{FF2B5EF4-FFF2-40B4-BE49-F238E27FC236}">
                  <a16:creationId xmlns:a16="http://schemas.microsoft.com/office/drawing/2014/main" id="{48D5E6C6-D0EE-FB92-1220-2F94CB9AA12B}"/>
                </a:ext>
              </a:extLst>
            </p:cNvPr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6441220" y="2430151"/>
              <a:ext cx="193857" cy="190426"/>
            </a:xfrm>
            <a:prstGeom prst="rect">
              <a:avLst/>
            </a:prstGeom>
          </p:spPr>
        </p:pic>
        <p:sp>
          <p:nvSpPr>
            <p:cNvPr id="94" name="TextBox 143">
              <a:extLst>
                <a:ext uri="{FF2B5EF4-FFF2-40B4-BE49-F238E27FC236}">
                  <a16:creationId xmlns:a16="http://schemas.microsoft.com/office/drawing/2014/main" id="{5D707DBC-8B44-AFE0-AA5E-668DE7772880}"/>
                </a:ext>
              </a:extLst>
            </p:cNvPr>
            <p:cNvSpPr txBox="1"/>
            <p:nvPr/>
          </p:nvSpPr>
          <p:spPr>
            <a:xfrm>
              <a:off x="3167570" y="2945673"/>
              <a:ext cx="1198087" cy="550822"/>
            </a:xfrm>
            <a:prstGeom prst="rect">
              <a:avLst/>
            </a:prstGeom>
            <a:noFill/>
          </p:spPr>
          <p:txBody>
            <a:bodyPr wrap="none" lIns="72000" tIns="36000" rIns="72000" bIns="3600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Spagna</a:t>
              </a: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~7,800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posti </a:t>
              </a:r>
              <a:r>
                <a:rPr kumimoji="0" lang="en-GB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B4B4D"/>
                  </a:solidFill>
                  <a:effectLst/>
                  <a:uLnTx/>
                  <a:uFillTx/>
                  <a:latin typeface="Century Gothic"/>
                  <a:ea typeface="+mn-ea"/>
                  <a:cs typeface="Arial"/>
                  <a:sym typeface="Arial"/>
                </a:rPr>
                <a:t>letto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5" name="Elemento grafico 4">
            <a:extLst>
              <a:ext uri="{FF2B5EF4-FFF2-40B4-BE49-F238E27FC236}">
                <a16:creationId xmlns:a16="http://schemas.microsoft.com/office/drawing/2014/main" id="{94A85383-521B-ABA2-ECE2-D3DAFB72389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8788" y="2041593"/>
            <a:ext cx="2450689" cy="18871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291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Immagine che contiene erba, aria aperta, edificio, cielo&#10;&#10;Descrizione generata automaticamente">
            <a:extLst>
              <a:ext uri="{FF2B5EF4-FFF2-40B4-BE49-F238E27FC236}">
                <a16:creationId xmlns:a16="http://schemas.microsoft.com/office/drawing/2014/main" id="{DAC75303-3B2B-B5B1-BD68-7FC916F93E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63" r="22187" b="12739"/>
          <a:stretch/>
        </p:blipFill>
        <p:spPr>
          <a:xfrm>
            <a:off x="-1" y="1393399"/>
            <a:ext cx="2228847" cy="2655719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BE1EB642-325A-4DC9-2F86-BA3C528E2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050" y="275854"/>
            <a:ext cx="8140167" cy="871627"/>
          </a:xfrm>
        </p:spPr>
        <p:txBody>
          <a:bodyPr/>
          <a:lstStyle/>
          <a:p>
            <a:r>
              <a:rPr lang="it-IT" sz="2400" b="1" dirty="0">
                <a:solidFill>
                  <a:srgbClr val="5D004A"/>
                </a:solidFill>
                <a:latin typeface="Avenir Black" panose="02000503020000020003" pitchFamily="2" charset="0"/>
              </a:rPr>
              <a:t>LE NOSTRE RESIDENZE IN ITALIA</a:t>
            </a:r>
            <a:br>
              <a:rPr lang="it-IT" b="1" cap="all" dirty="0">
                <a:solidFill>
                  <a:srgbClr val="5D004A"/>
                </a:solidFill>
                <a:latin typeface="Avenir Black" panose="02000503020000020003" pitchFamily="2" charset="0"/>
              </a:rPr>
            </a:br>
            <a: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  <a:t>Insieme, per Promuovere l’invecchiamento</a:t>
            </a:r>
            <a:b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</a:br>
            <a: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  <a:t>positivo della persona</a:t>
            </a:r>
            <a:endParaRPr lang="it-IT" sz="1600" b="1" dirty="0">
              <a:solidFill>
                <a:srgbClr val="EF7F78"/>
              </a:solidFill>
              <a:latin typeface="Avenir Heavy" panose="02000503020000020003" pitchFamily="2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84E37ED-0622-F747-418C-25FD8FAD41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1055" y="4697269"/>
            <a:ext cx="1380565" cy="339748"/>
          </a:xfrm>
          <a:prstGeom prst="rect">
            <a:avLst/>
          </a:prstGeom>
        </p:spPr>
      </p:pic>
      <p:sp>
        <p:nvSpPr>
          <p:cNvPr id="2535" name="TextBox 27">
            <a:extLst>
              <a:ext uri="{FF2B5EF4-FFF2-40B4-BE49-F238E27FC236}">
                <a16:creationId xmlns:a16="http://schemas.microsoft.com/office/drawing/2014/main" id="{F2571A30-4DEC-D997-C474-E22CF32FF94B}"/>
              </a:ext>
            </a:extLst>
          </p:cNvPr>
          <p:cNvSpPr txBox="1"/>
          <p:nvPr/>
        </p:nvSpPr>
        <p:spPr>
          <a:xfrm>
            <a:off x="3040880" y="1665814"/>
            <a:ext cx="1840801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Casa Famiglia Affori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fr-FR" sz="506" b="0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Franco Faccio 15/19, Milano</a:t>
            </a:r>
          </a:p>
        </p:txBody>
      </p:sp>
      <p:cxnSp>
        <p:nvCxnSpPr>
          <p:cNvPr id="2536" name="Connecteur droit 47">
            <a:extLst>
              <a:ext uri="{FF2B5EF4-FFF2-40B4-BE49-F238E27FC236}">
                <a16:creationId xmlns:a16="http://schemas.microsoft.com/office/drawing/2014/main" id="{92415136-FD05-F783-A2AD-4CD9CF457F8C}"/>
              </a:ext>
            </a:extLst>
          </p:cNvPr>
          <p:cNvCxnSpPr>
            <a:cxnSpLocks/>
          </p:cNvCxnSpPr>
          <p:nvPr/>
        </p:nvCxnSpPr>
        <p:spPr>
          <a:xfrm flipH="1">
            <a:off x="6461013" y="1080790"/>
            <a:ext cx="627944" cy="0"/>
          </a:xfrm>
          <a:prstGeom prst="line">
            <a:avLst/>
          </a:prstGeom>
          <a:noFill/>
          <a:ln w="15875" cap="flat" cmpd="sng" algn="ctr">
            <a:solidFill>
              <a:srgbClr val="9B0658"/>
            </a:solidFill>
            <a:prstDash val="sysDot"/>
            <a:miter lim="800000"/>
          </a:ln>
          <a:effectLst/>
        </p:spPr>
      </p:cxnSp>
      <p:grpSp>
        <p:nvGrpSpPr>
          <p:cNvPr id="2537" name="Gruppo 2536">
            <a:extLst>
              <a:ext uri="{FF2B5EF4-FFF2-40B4-BE49-F238E27FC236}">
                <a16:creationId xmlns:a16="http://schemas.microsoft.com/office/drawing/2014/main" id="{5DE2B43B-D49F-23DB-8DAF-FF4EA82663AB}"/>
              </a:ext>
            </a:extLst>
          </p:cNvPr>
          <p:cNvGrpSpPr>
            <a:grpSpLocks noChangeAspect="1"/>
          </p:cNvGrpSpPr>
          <p:nvPr/>
        </p:nvGrpSpPr>
        <p:grpSpPr>
          <a:xfrm>
            <a:off x="4524527" y="1669774"/>
            <a:ext cx="212032" cy="158279"/>
            <a:chOff x="7617796" y="1610157"/>
            <a:chExt cx="2253536" cy="1673784"/>
          </a:xfrm>
        </p:grpSpPr>
        <p:pic>
          <p:nvPicPr>
            <p:cNvPr id="2984" name="Image 64">
              <a:extLst>
                <a:ext uri="{FF2B5EF4-FFF2-40B4-BE49-F238E27FC236}">
                  <a16:creationId xmlns:a16="http://schemas.microsoft.com/office/drawing/2014/main" id="{0771FB3D-3F55-9316-889C-F48DDD041F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85" name="Rettangolo 2984">
              <a:extLst>
                <a:ext uri="{FF2B5EF4-FFF2-40B4-BE49-F238E27FC236}">
                  <a16:creationId xmlns:a16="http://schemas.microsoft.com/office/drawing/2014/main" id="{4BCEB525-061A-F781-2BF1-3226333D0DC2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86" name="Rettangolo 2985">
              <a:extLst>
                <a:ext uri="{FF2B5EF4-FFF2-40B4-BE49-F238E27FC236}">
                  <a16:creationId xmlns:a16="http://schemas.microsoft.com/office/drawing/2014/main" id="{3D295DC2-8EC8-004B-75D9-E75B76FB12A0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38" name="Image 28">
            <a:extLst>
              <a:ext uri="{FF2B5EF4-FFF2-40B4-BE49-F238E27FC236}">
                <a16:creationId xmlns:a16="http://schemas.microsoft.com/office/drawing/2014/main" id="{69C15E27-6A00-94E3-955C-69BEE8FD98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7972" y="1688748"/>
            <a:ext cx="146381" cy="137700"/>
          </a:xfrm>
          <a:prstGeom prst="rect">
            <a:avLst/>
          </a:prstGeom>
        </p:spPr>
      </p:pic>
      <p:sp>
        <p:nvSpPr>
          <p:cNvPr id="2539" name="TextBox 27">
            <a:extLst>
              <a:ext uri="{FF2B5EF4-FFF2-40B4-BE49-F238E27FC236}">
                <a16:creationId xmlns:a16="http://schemas.microsoft.com/office/drawing/2014/main" id="{8151A4FC-1DBC-616D-460B-67A4E6448108}"/>
              </a:ext>
            </a:extLst>
          </p:cNvPr>
          <p:cNvSpPr txBox="1"/>
          <p:nvPr/>
        </p:nvSpPr>
        <p:spPr>
          <a:xfrm>
            <a:off x="7137864" y="1194206"/>
            <a:ext cx="1789256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/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l Porto</a:t>
            </a:r>
            <a:br>
              <a:rPr kumimoji="0" lang="en-US" sz="563" b="0" i="0" u="none" strike="noStrike" kern="0" cap="none" spc="0" normalizeH="0" baseline="0" noProof="1">
                <a:ln>
                  <a:noFill/>
                </a:ln>
                <a:solidFill>
                  <a:srgbClr val="7F7EB6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it-IT" sz="506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Torre Pellice 25, Torino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40" name="Gruppo 2539">
            <a:extLst>
              <a:ext uri="{FF2B5EF4-FFF2-40B4-BE49-F238E27FC236}">
                <a16:creationId xmlns:a16="http://schemas.microsoft.com/office/drawing/2014/main" id="{652DF156-4159-9906-41AB-387522937EBB}"/>
              </a:ext>
            </a:extLst>
          </p:cNvPr>
          <p:cNvGrpSpPr/>
          <p:nvPr/>
        </p:nvGrpSpPr>
        <p:grpSpPr>
          <a:xfrm>
            <a:off x="8625127" y="1218158"/>
            <a:ext cx="203012" cy="136650"/>
            <a:chOff x="6680569" y="1801627"/>
            <a:chExt cx="1118141" cy="827905"/>
          </a:xfrm>
        </p:grpSpPr>
        <p:pic>
          <p:nvPicPr>
            <p:cNvPr id="2981" name="Image 172">
              <a:extLst>
                <a:ext uri="{FF2B5EF4-FFF2-40B4-BE49-F238E27FC236}">
                  <a16:creationId xmlns:a16="http://schemas.microsoft.com/office/drawing/2014/main" id="{87A1D495-653E-0D65-3149-1ECAB532E4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82" name="Rettangolo 2981">
              <a:extLst>
                <a:ext uri="{FF2B5EF4-FFF2-40B4-BE49-F238E27FC236}">
                  <a16:creationId xmlns:a16="http://schemas.microsoft.com/office/drawing/2014/main" id="{975A872E-B504-A012-703C-00EC0F720B25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83" name="Rettangolo 2982">
              <a:extLst>
                <a:ext uri="{FF2B5EF4-FFF2-40B4-BE49-F238E27FC236}">
                  <a16:creationId xmlns:a16="http://schemas.microsoft.com/office/drawing/2014/main" id="{498AC7B2-2B19-7FFD-360C-38531BB3C2F0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41" name="Image 136">
            <a:extLst>
              <a:ext uri="{FF2B5EF4-FFF2-40B4-BE49-F238E27FC236}">
                <a16:creationId xmlns:a16="http://schemas.microsoft.com/office/drawing/2014/main" id="{327E29B9-4E2D-29DD-2122-1FEFF02484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6856" y="1226538"/>
            <a:ext cx="129825" cy="131388"/>
          </a:xfrm>
          <a:prstGeom prst="rect">
            <a:avLst/>
          </a:prstGeom>
        </p:spPr>
      </p:pic>
      <p:sp>
        <p:nvSpPr>
          <p:cNvPr id="2542" name="CasellaDiTesto 2541">
            <a:extLst>
              <a:ext uri="{FF2B5EF4-FFF2-40B4-BE49-F238E27FC236}">
                <a16:creationId xmlns:a16="http://schemas.microsoft.com/office/drawing/2014/main" id="{7954595D-610E-302A-44A2-526D8EAD0DE8}"/>
              </a:ext>
            </a:extLst>
          </p:cNvPr>
          <p:cNvSpPr txBox="1"/>
          <p:nvPr/>
        </p:nvSpPr>
        <p:spPr>
          <a:xfrm>
            <a:off x="8378776" y="1321121"/>
            <a:ext cx="306966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80</a:t>
            </a:r>
          </a:p>
        </p:txBody>
      </p:sp>
      <p:sp>
        <p:nvSpPr>
          <p:cNvPr id="2543" name="CasellaDiTesto 2542">
            <a:extLst>
              <a:ext uri="{FF2B5EF4-FFF2-40B4-BE49-F238E27FC236}">
                <a16:creationId xmlns:a16="http://schemas.microsoft.com/office/drawing/2014/main" id="{AC6EA094-12AE-1AAD-371C-FCF7D9085299}"/>
              </a:ext>
            </a:extLst>
          </p:cNvPr>
          <p:cNvSpPr txBox="1"/>
          <p:nvPr/>
        </p:nvSpPr>
        <p:spPr>
          <a:xfrm>
            <a:off x="8533540" y="1322297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0.000 m²</a:t>
            </a:r>
          </a:p>
        </p:txBody>
      </p:sp>
      <p:sp>
        <p:nvSpPr>
          <p:cNvPr id="2544" name="TextBox 27">
            <a:extLst>
              <a:ext uri="{FF2B5EF4-FFF2-40B4-BE49-F238E27FC236}">
                <a16:creationId xmlns:a16="http://schemas.microsoft.com/office/drawing/2014/main" id="{47B45724-E76A-1B5A-4B19-4B34769E7178}"/>
              </a:ext>
            </a:extLst>
          </p:cNvPr>
          <p:cNvSpPr txBox="1"/>
          <p:nvPr/>
        </p:nvSpPr>
        <p:spPr>
          <a:xfrm>
            <a:off x="7143123" y="1471643"/>
            <a:ext cx="1788117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taca</a:t>
            </a:r>
            <a:endParaRPr kumimoji="0" lang="it-IT" sz="78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Strada Antica di Collegno 168, Torino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45" name="Gruppo 2544">
            <a:extLst>
              <a:ext uri="{FF2B5EF4-FFF2-40B4-BE49-F238E27FC236}">
                <a16:creationId xmlns:a16="http://schemas.microsoft.com/office/drawing/2014/main" id="{16B46646-D071-15A9-ED20-D74214CB51B1}"/>
              </a:ext>
            </a:extLst>
          </p:cNvPr>
          <p:cNvGrpSpPr/>
          <p:nvPr/>
        </p:nvGrpSpPr>
        <p:grpSpPr>
          <a:xfrm>
            <a:off x="8630387" y="1495595"/>
            <a:ext cx="203012" cy="136650"/>
            <a:chOff x="6680569" y="1801627"/>
            <a:chExt cx="1118141" cy="827905"/>
          </a:xfrm>
        </p:grpSpPr>
        <p:pic>
          <p:nvPicPr>
            <p:cNvPr id="2978" name="Image 172">
              <a:extLst>
                <a:ext uri="{FF2B5EF4-FFF2-40B4-BE49-F238E27FC236}">
                  <a16:creationId xmlns:a16="http://schemas.microsoft.com/office/drawing/2014/main" id="{8BEFCE09-D1F5-3310-8DE0-BF99610514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79" name="Rettangolo 2978">
              <a:extLst>
                <a:ext uri="{FF2B5EF4-FFF2-40B4-BE49-F238E27FC236}">
                  <a16:creationId xmlns:a16="http://schemas.microsoft.com/office/drawing/2014/main" id="{B53CCE59-3593-6565-4C11-2FC44946531D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80" name="Rettangolo 2979">
              <a:extLst>
                <a:ext uri="{FF2B5EF4-FFF2-40B4-BE49-F238E27FC236}">
                  <a16:creationId xmlns:a16="http://schemas.microsoft.com/office/drawing/2014/main" id="{9E30899B-8BED-66E4-4832-A00D06B892D9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46" name="Image 136">
            <a:extLst>
              <a:ext uri="{FF2B5EF4-FFF2-40B4-BE49-F238E27FC236}">
                <a16:creationId xmlns:a16="http://schemas.microsoft.com/office/drawing/2014/main" id="{94E46500-B7DA-5F83-D6D9-AADACADFB5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116" y="1503975"/>
            <a:ext cx="129825" cy="131388"/>
          </a:xfrm>
          <a:prstGeom prst="rect">
            <a:avLst/>
          </a:prstGeom>
        </p:spPr>
      </p:pic>
      <p:sp>
        <p:nvSpPr>
          <p:cNvPr id="2547" name="CasellaDiTesto 2546">
            <a:extLst>
              <a:ext uri="{FF2B5EF4-FFF2-40B4-BE49-F238E27FC236}">
                <a16:creationId xmlns:a16="http://schemas.microsoft.com/office/drawing/2014/main" id="{68CA5E4C-5DCE-1A74-2E80-9629DEF286B1}"/>
              </a:ext>
            </a:extLst>
          </p:cNvPr>
          <p:cNvSpPr txBox="1"/>
          <p:nvPr/>
        </p:nvSpPr>
        <p:spPr>
          <a:xfrm>
            <a:off x="8382663" y="1596771"/>
            <a:ext cx="296300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48" name="CasellaDiTesto 2547">
            <a:extLst>
              <a:ext uri="{FF2B5EF4-FFF2-40B4-BE49-F238E27FC236}">
                <a16:creationId xmlns:a16="http://schemas.microsoft.com/office/drawing/2014/main" id="{BA97AB92-E77A-E45E-03A7-FA13BEB5B49E}"/>
              </a:ext>
            </a:extLst>
          </p:cNvPr>
          <p:cNvSpPr txBox="1"/>
          <p:nvPr/>
        </p:nvSpPr>
        <p:spPr>
          <a:xfrm>
            <a:off x="8542373" y="1599735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5.900 m²</a:t>
            </a:r>
          </a:p>
        </p:txBody>
      </p:sp>
      <p:sp>
        <p:nvSpPr>
          <p:cNvPr id="2549" name="TextBox 27">
            <a:extLst>
              <a:ext uri="{FF2B5EF4-FFF2-40B4-BE49-F238E27FC236}">
                <a16:creationId xmlns:a16="http://schemas.microsoft.com/office/drawing/2014/main" id="{86277F4C-6015-EBA9-2D6B-BFD2C76A51AD}"/>
              </a:ext>
            </a:extLst>
          </p:cNvPr>
          <p:cNvSpPr txBox="1"/>
          <p:nvPr/>
        </p:nvSpPr>
        <p:spPr>
          <a:xfrm>
            <a:off x="7143123" y="1754120"/>
            <a:ext cx="1788117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Villa Primule</a:t>
            </a:r>
            <a:endParaRPr kumimoji="0" lang="it-IT" sz="506" b="1" i="0" u="none" strike="noStrike" kern="0" cap="none" spc="0" normalizeH="0" baseline="0" noProof="0" dirty="0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delle Primule 7, Torino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50" name="Gruppo 2549">
            <a:extLst>
              <a:ext uri="{FF2B5EF4-FFF2-40B4-BE49-F238E27FC236}">
                <a16:creationId xmlns:a16="http://schemas.microsoft.com/office/drawing/2014/main" id="{B586F8E4-BC46-7C69-8863-F3657EBFA8F0}"/>
              </a:ext>
            </a:extLst>
          </p:cNvPr>
          <p:cNvGrpSpPr/>
          <p:nvPr/>
        </p:nvGrpSpPr>
        <p:grpSpPr>
          <a:xfrm>
            <a:off x="8630387" y="1778071"/>
            <a:ext cx="203012" cy="136650"/>
            <a:chOff x="6680569" y="1801627"/>
            <a:chExt cx="1118141" cy="827905"/>
          </a:xfrm>
        </p:grpSpPr>
        <p:pic>
          <p:nvPicPr>
            <p:cNvPr id="2975" name="Image 172">
              <a:extLst>
                <a:ext uri="{FF2B5EF4-FFF2-40B4-BE49-F238E27FC236}">
                  <a16:creationId xmlns:a16="http://schemas.microsoft.com/office/drawing/2014/main" id="{D115294D-B6E8-DD0D-167F-551794D7A7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76" name="Rettangolo 2975">
              <a:extLst>
                <a:ext uri="{FF2B5EF4-FFF2-40B4-BE49-F238E27FC236}">
                  <a16:creationId xmlns:a16="http://schemas.microsoft.com/office/drawing/2014/main" id="{E966D505-7095-2543-B674-6A63E522F8F9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77" name="Rettangolo 2976">
              <a:extLst>
                <a:ext uri="{FF2B5EF4-FFF2-40B4-BE49-F238E27FC236}">
                  <a16:creationId xmlns:a16="http://schemas.microsoft.com/office/drawing/2014/main" id="{661A359B-9516-1EFC-3E5F-C20E36FB1352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51" name="Image 136">
            <a:extLst>
              <a:ext uri="{FF2B5EF4-FFF2-40B4-BE49-F238E27FC236}">
                <a16:creationId xmlns:a16="http://schemas.microsoft.com/office/drawing/2014/main" id="{B8C35B04-EA8A-C645-B055-25E321C49A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116" y="1786451"/>
            <a:ext cx="129825" cy="131388"/>
          </a:xfrm>
          <a:prstGeom prst="rect">
            <a:avLst/>
          </a:prstGeom>
        </p:spPr>
      </p:pic>
      <p:sp>
        <p:nvSpPr>
          <p:cNvPr id="2552" name="CasellaDiTesto 2551">
            <a:extLst>
              <a:ext uri="{FF2B5EF4-FFF2-40B4-BE49-F238E27FC236}">
                <a16:creationId xmlns:a16="http://schemas.microsoft.com/office/drawing/2014/main" id="{CDCD4453-1086-4BBD-C80A-7470EBA65848}"/>
              </a:ext>
            </a:extLst>
          </p:cNvPr>
          <p:cNvSpPr txBox="1"/>
          <p:nvPr/>
        </p:nvSpPr>
        <p:spPr>
          <a:xfrm>
            <a:off x="8384549" y="1879249"/>
            <a:ext cx="28187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53" name="CasellaDiTesto 2552">
            <a:extLst>
              <a:ext uri="{FF2B5EF4-FFF2-40B4-BE49-F238E27FC236}">
                <a16:creationId xmlns:a16="http://schemas.microsoft.com/office/drawing/2014/main" id="{73C1E10F-462E-4453-71F0-1293C5838142}"/>
              </a:ext>
            </a:extLst>
          </p:cNvPr>
          <p:cNvSpPr txBox="1"/>
          <p:nvPr/>
        </p:nvSpPr>
        <p:spPr>
          <a:xfrm>
            <a:off x="8542373" y="1882211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6.200 m²</a:t>
            </a:r>
          </a:p>
        </p:txBody>
      </p:sp>
      <p:sp>
        <p:nvSpPr>
          <p:cNvPr id="2554" name="TextBox 27">
            <a:extLst>
              <a:ext uri="{FF2B5EF4-FFF2-40B4-BE49-F238E27FC236}">
                <a16:creationId xmlns:a16="http://schemas.microsoft.com/office/drawing/2014/main" id="{F4911AEA-E1AC-10D9-66D9-17D0EAB290B5}"/>
              </a:ext>
            </a:extLst>
          </p:cNvPr>
          <p:cNvSpPr txBox="1"/>
          <p:nvPr/>
        </p:nvSpPr>
        <p:spPr>
          <a:xfrm>
            <a:off x="7137863" y="2042529"/>
            <a:ext cx="1792553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Mario Soldati</a:t>
            </a:r>
            <a:endParaRPr kumimoji="0" lang="it-IT" sz="506" b="1" i="0" u="none" strike="noStrike" kern="0" cap="none" spc="0" normalizeH="0" baseline="0" noProof="0" dirty="0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Strada di Settimo166/11, Torino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55" name="Gruppo 2554">
            <a:extLst>
              <a:ext uri="{FF2B5EF4-FFF2-40B4-BE49-F238E27FC236}">
                <a16:creationId xmlns:a16="http://schemas.microsoft.com/office/drawing/2014/main" id="{CA2ABD03-DF86-B055-6C0D-6DB063B54738}"/>
              </a:ext>
            </a:extLst>
          </p:cNvPr>
          <p:cNvGrpSpPr/>
          <p:nvPr/>
        </p:nvGrpSpPr>
        <p:grpSpPr>
          <a:xfrm>
            <a:off x="8625127" y="2066480"/>
            <a:ext cx="203012" cy="136650"/>
            <a:chOff x="6680569" y="1801627"/>
            <a:chExt cx="1118141" cy="827905"/>
          </a:xfrm>
        </p:grpSpPr>
        <p:pic>
          <p:nvPicPr>
            <p:cNvPr id="2972" name="Image 172">
              <a:extLst>
                <a:ext uri="{FF2B5EF4-FFF2-40B4-BE49-F238E27FC236}">
                  <a16:creationId xmlns:a16="http://schemas.microsoft.com/office/drawing/2014/main" id="{494DB437-DFA4-982C-DFE0-BE55B432A8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73" name="Rettangolo 2972">
              <a:extLst>
                <a:ext uri="{FF2B5EF4-FFF2-40B4-BE49-F238E27FC236}">
                  <a16:creationId xmlns:a16="http://schemas.microsoft.com/office/drawing/2014/main" id="{B9B9317C-CB0A-4346-8E8C-9BD5A9B3730C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74" name="Rettangolo 2973">
              <a:extLst>
                <a:ext uri="{FF2B5EF4-FFF2-40B4-BE49-F238E27FC236}">
                  <a16:creationId xmlns:a16="http://schemas.microsoft.com/office/drawing/2014/main" id="{17FF05D4-1E47-E9BD-025E-C96F4AB932C8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56" name="Image 136">
            <a:extLst>
              <a:ext uri="{FF2B5EF4-FFF2-40B4-BE49-F238E27FC236}">
                <a16:creationId xmlns:a16="http://schemas.microsoft.com/office/drawing/2014/main" id="{FD269BA3-E739-01C2-BAEA-1112CE59BF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6856" y="2074860"/>
            <a:ext cx="129825" cy="131388"/>
          </a:xfrm>
          <a:prstGeom prst="rect">
            <a:avLst/>
          </a:prstGeom>
        </p:spPr>
      </p:pic>
      <p:sp>
        <p:nvSpPr>
          <p:cNvPr id="2557" name="CasellaDiTesto 2556">
            <a:extLst>
              <a:ext uri="{FF2B5EF4-FFF2-40B4-BE49-F238E27FC236}">
                <a16:creationId xmlns:a16="http://schemas.microsoft.com/office/drawing/2014/main" id="{258D5842-850C-FD9D-924A-56305A4C6C83}"/>
              </a:ext>
            </a:extLst>
          </p:cNvPr>
          <p:cNvSpPr txBox="1"/>
          <p:nvPr/>
        </p:nvSpPr>
        <p:spPr>
          <a:xfrm>
            <a:off x="8377304" y="2167656"/>
            <a:ext cx="28758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58" name="CasellaDiTesto 2557">
            <a:extLst>
              <a:ext uri="{FF2B5EF4-FFF2-40B4-BE49-F238E27FC236}">
                <a16:creationId xmlns:a16="http://schemas.microsoft.com/office/drawing/2014/main" id="{8B1B7AD9-D97C-8832-CA7B-12A88E536370}"/>
              </a:ext>
            </a:extLst>
          </p:cNvPr>
          <p:cNvSpPr txBox="1"/>
          <p:nvPr/>
        </p:nvSpPr>
        <p:spPr>
          <a:xfrm>
            <a:off x="8537113" y="2170620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4.600 m²</a:t>
            </a:r>
          </a:p>
        </p:txBody>
      </p:sp>
      <p:sp>
        <p:nvSpPr>
          <p:cNvPr id="2559" name="TextBox 27">
            <a:extLst>
              <a:ext uri="{FF2B5EF4-FFF2-40B4-BE49-F238E27FC236}">
                <a16:creationId xmlns:a16="http://schemas.microsoft.com/office/drawing/2014/main" id="{BACE32B5-9BF4-49C6-65CC-43FE795183A6}"/>
              </a:ext>
            </a:extLst>
          </p:cNvPr>
          <p:cNvSpPr txBox="1"/>
          <p:nvPr/>
        </p:nvSpPr>
        <p:spPr>
          <a:xfrm>
            <a:off x="7137863" y="2323735"/>
            <a:ext cx="1792553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Cesare Pavese</a:t>
            </a:r>
            <a:endParaRPr kumimoji="0" lang="it-IT" sz="788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XXIV Maggio 29, Cavagnolo(TO)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60" name="Gruppo 2559">
            <a:extLst>
              <a:ext uri="{FF2B5EF4-FFF2-40B4-BE49-F238E27FC236}">
                <a16:creationId xmlns:a16="http://schemas.microsoft.com/office/drawing/2014/main" id="{FE86C6E8-3468-AA94-AEE9-6CB010D5E97D}"/>
              </a:ext>
            </a:extLst>
          </p:cNvPr>
          <p:cNvGrpSpPr/>
          <p:nvPr/>
        </p:nvGrpSpPr>
        <p:grpSpPr>
          <a:xfrm>
            <a:off x="8625127" y="2347686"/>
            <a:ext cx="203012" cy="136650"/>
            <a:chOff x="6680569" y="1801627"/>
            <a:chExt cx="1118141" cy="827905"/>
          </a:xfrm>
        </p:grpSpPr>
        <p:pic>
          <p:nvPicPr>
            <p:cNvPr id="2969" name="Image 172">
              <a:extLst>
                <a:ext uri="{FF2B5EF4-FFF2-40B4-BE49-F238E27FC236}">
                  <a16:creationId xmlns:a16="http://schemas.microsoft.com/office/drawing/2014/main" id="{A622EE73-2823-38C9-F269-C09A882063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70" name="Rettangolo 2969">
              <a:extLst>
                <a:ext uri="{FF2B5EF4-FFF2-40B4-BE49-F238E27FC236}">
                  <a16:creationId xmlns:a16="http://schemas.microsoft.com/office/drawing/2014/main" id="{1DCD7AA3-840E-2EAE-0E44-924A8E8B041F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71" name="Rettangolo 2970">
              <a:extLst>
                <a:ext uri="{FF2B5EF4-FFF2-40B4-BE49-F238E27FC236}">
                  <a16:creationId xmlns:a16="http://schemas.microsoft.com/office/drawing/2014/main" id="{EC7981F4-D33A-6F8C-5BE2-3DC706BFCA83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61" name="Image 136">
            <a:extLst>
              <a:ext uri="{FF2B5EF4-FFF2-40B4-BE49-F238E27FC236}">
                <a16:creationId xmlns:a16="http://schemas.microsoft.com/office/drawing/2014/main" id="{EF383BA7-F57E-3EC2-D034-5CDAC32EF0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6856" y="2356066"/>
            <a:ext cx="129825" cy="131388"/>
          </a:xfrm>
          <a:prstGeom prst="rect">
            <a:avLst/>
          </a:prstGeom>
        </p:spPr>
      </p:pic>
      <p:sp>
        <p:nvSpPr>
          <p:cNvPr id="2562" name="CasellaDiTesto 2561">
            <a:extLst>
              <a:ext uri="{FF2B5EF4-FFF2-40B4-BE49-F238E27FC236}">
                <a16:creationId xmlns:a16="http://schemas.microsoft.com/office/drawing/2014/main" id="{0B10121C-C03C-0300-E192-DCA0D1D11DD2}"/>
              </a:ext>
            </a:extLst>
          </p:cNvPr>
          <p:cNvSpPr txBox="1"/>
          <p:nvPr/>
        </p:nvSpPr>
        <p:spPr>
          <a:xfrm>
            <a:off x="8377304" y="2448862"/>
            <a:ext cx="28758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00</a:t>
            </a:r>
          </a:p>
        </p:txBody>
      </p:sp>
      <p:sp>
        <p:nvSpPr>
          <p:cNvPr id="2563" name="CasellaDiTesto 2562">
            <a:extLst>
              <a:ext uri="{FF2B5EF4-FFF2-40B4-BE49-F238E27FC236}">
                <a16:creationId xmlns:a16="http://schemas.microsoft.com/office/drawing/2014/main" id="{AFED9200-5B5E-35D5-A530-080D9CEA0513}"/>
              </a:ext>
            </a:extLst>
          </p:cNvPr>
          <p:cNvSpPr txBox="1"/>
          <p:nvPr/>
        </p:nvSpPr>
        <p:spPr>
          <a:xfrm>
            <a:off x="8537113" y="2451825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4.700 m²</a:t>
            </a:r>
          </a:p>
        </p:txBody>
      </p:sp>
      <p:sp>
        <p:nvSpPr>
          <p:cNvPr id="2564" name="TextBox 27">
            <a:extLst>
              <a:ext uri="{FF2B5EF4-FFF2-40B4-BE49-F238E27FC236}">
                <a16:creationId xmlns:a16="http://schemas.microsoft.com/office/drawing/2014/main" id="{F6EA2BC9-34C1-0A86-1768-1F3A52F8C8F4}"/>
              </a:ext>
            </a:extLst>
          </p:cNvPr>
          <p:cNvSpPr txBox="1"/>
          <p:nvPr/>
        </p:nvSpPr>
        <p:spPr>
          <a:xfrm>
            <a:off x="7137863" y="2616204"/>
            <a:ext cx="1792553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talo Calvino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it-IT" sz="506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Regno Unito 1, Orbassano(TO)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65" name="Gruppo 2564">
            <a:extLst>
              <a:ext uri="{FF2B5EF4-FFF2-40B4-BE49-F238E27FC236}">
                <a16:creationId xmlns:a16="http://schemas.microsoft.com/office/drawing/2014/main" id="{0CB24761-6192-2D09-4652-02F2D921AA65}"/>
              </a:ext>
            </a:extLst>
          </p:cNvPr>
          <p:cNvGrpSpPr/>
          <p:nvPr/>
        </p:nvGrpSpPr>
        <p:grpSpPr>
          <a:xfrm>
            <a:off x="8625127" y="2640155"/>
            <a:ext cx="203012" cy="136650"/>
            <a:chOff x="6680569" y="1801627"/>
            <a:chExt cx="1118141" cy="827905"/>
          </a:xfrm>
        </p:grpSpPr>
        <p:pic>
          <p:nvPicPr>
            <p:cNvPr id="2966" name="Image 172">
              <a:extLst>
                <a:ext uri="{FF2B5EF4-FFF2-40B4-BE49-F238E27FC236}">
                  <a16:creationId xmlns:a16="http://schemas.microsoft.com/office/drawing/2014/main" id="{C4F8E3A1-8875-ADDB-0DAD-91353F93D5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67" name="Rettangolo 2966">
              <a:extLst>
                <a:ext uri="{FF2B5EF4-FFF2-40B4-BE49-F238E27FC236}">
                  <a16:creationId xmlns:a16="http://schemas.microsoft.com/office/drawing/2014/main" id="{F85D65EB-7447-1E2C-6139-37A40DBF2ADC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68" name="Rettangolo 2967">
              <a:extLst>
                <a:ext uri="{FF2B5EF4-FFF2-40B4-BE49-F238E27FC236}">
                  <a16:creationId xmlns:a16="http://schemas.microsoft.com/office/drawing/2014/main" id="{0091A93D-8BD1-804C-269F-3F0699FB826E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66" name="Image 136">
            <a:extLst>
              <a:ext uri="{FF2B5EF4-FFF2-40B4-BE49-F238E27FC236}">
                <a16:creationId xmlns:a16="http://schemas.microsoft.com/office/drawing/2014/main" id="{985E88E6-BF77-BF7C-A6AD-39E87DF47A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6856" y="2648535"/>
            <a:ext cx="129825" cy="131388"/>
          </a:xfrm>
          <a:prstGeom prst="rect">
            <a:avLst/>
          </a:prstGeom>
        </p:spPr>
      </p:pic>
      <p:sp>
        <p:nvSpPr>
          <p:cNvPr id="2567" name="CasellaDiTesto 2566">
            <a:extLst>
              <a:ext uri="{FF2B5EF4-FFF2-40B4-BE49-F238E27FC236}">
                <a16:creationId xmlns:a16="http://schemas.microsoft.com/office/drawing/2014/main" id="{FC777DE2-FED1-D533-78C0-0CFD6F3011C8}"/>
              </a:ext>
            </a:extLst>
          </p:cNvPr>
          <p:cNvSpPr txBox="1"/>
          <p:nvPr/>
        </p:nvSpPr>
        <p:spPr>
          <a:xfrm>
            <a:off x="8377304" y="2741332"/>
            <a:ext cx="295686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68" name="CasellaDiTesto 2567">
            <a:extLst>
              <a:ext uri="{FF2B5EF4-FFF2-40B4-BE49-F238E27FC236}">
                <a16:creationId xmlns:a16="http://schemas.microsoft.com/office/drawing/2014/main" id="{2D9C55B5-260E-98E3-7AF6-8FF5644D025F}"/>
              </a:ext>
            </a:extLst>
          </p:cNvPr>
          <p:cNvSpPr txBox="1"/>
          <p:nvPr/>
        </p:nvSpPr>
        <p:spPr>
          <a:xfrm>
            <a:off x="8537113" y="2744296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3.400 m²</a:t>
            </a:r>
          </a:p>
        </p:txBody>
      </p:sp>
      <p:sp>
        <p:nvSpPr>
          <p:cNvPr id="2569" name="TextBox 27">
            <a:extLst>
              <a:ext uri="{FF2B5EF4-FFF2-40B4-BE49-F238E27FC236}">
                <a16:creationId xmlns:a16="http://schemas.microsoft.com/office/drawing/2014/main" id="{09F4F5F5-6B40-C650-978C-00800373458B}"/>
              </a:ext>
            </a:extLst>
          </p:cNvPr>
          <p:cNvSpPr txBox="1"/>
          <p:nvPr/>
        </p:nvSpPr>
        <p:spPr>
          <a:xfrm>
            <a:off x="7143123" y="2899699"/>
            <a:ext cx="1792553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Edmondo de Amicis 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fr-FR" sz="479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M. Teresa Fornasio 30, Beinasco (TO)</a:t>
            </a:r>
          </a:p>
        </p:txBody>
      </p:sp>
      <p:grpSp>
        <p:nvGrpSpPr>
          <p:cNvPr id="2570" name="Gruppo 2569">
            <a:extLst>
              <a:ext uri="{FF2B5EF4-FFF2-40B4-BE49-F238E27FC236}">
                <a16:creationId xmlns:a16="http://schemas.microsoft.com/office/drawing/2014/main" id="{74572A99-E5E8-71A4-F4F9-9C990F01897A}"/>
              </a:ext>
            </a:extLst>
          </p:cNvPr>
          <p:cNvGrpSpPr/>
          <p:nvPr/>
        </p:nvGrpSpPr>
        <p:grpSpPr>
          <a:xfrm>
            <a:off x="8630387" y="2923650"/>
            <a:ext cx="203012" cy="136650"/>
            <a:chOff x="6680569" y="1801627"/>
            <a:chExt cx="1118141" cy="827905"/>
          </a:xfrm>
        </p:grpSpPr>
        <p:pic>
          <p:nvPicPr>
            <p:cNvPr id="2963" name="Image 172">
              <a:extLst>
                <a:ext uri="{FF2B5EF4-FFF2-40B4-BE49-F238E27FC236}">
                  <a16:creationId xmlns:a16="http://schemas.microsoft.com/office/drawing/2014/main" id="{2C5E15BF-61C6-F99B-7843-C4EA401470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64" name="Rettangolo 2963">
              <a:extLst>
                <a:ext uri="{FF2B5EF4-FFF2-40B4-BE49-F238E27FC236}">
                  <a16:creationId xmlns:a16="http://schemas.microsoft.com/office/drawing/2014/main" id="{CF703F71-B7D2-39DE-B92F-7E7A9460BF54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65" name="Rettangolo 2964">
              <a:extLst>
                <a:ext uri="{FF2B5EF4-FFF2-40B4-BE49-F238E27FC236}">
                  <a16:creationId xmlns:a16="http://schemas.microsoft.com/office/drawing/2014/main" id="{E0E57CC8-86C7-3EF4-9CF1-AE627C3C9DC2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71" name="Image 136">
            <a:extLst>
              <a:ext uri="{FF2B5EF4-FFF2-40B4-BE49-F238E27FC236}">
                <a16:creationId xmlns:a16="http://schemas.microsoft.com/office/drawing/2014/main" id="{130D09C2-DBA0-70CB-E5EA-FEDC7796F7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116" y="2932030"/>
            <a:ext cx="129825" cy="131388"/>
          </a:xfrm>
          <a:prstGeom prst="rect">
            <a:avLst/>
          </a:prstGeom>
        </p:spPr>
      </p:pic>
      <p:sp>
        <p:nvSpPr>
          <p:cNvPr id="2572" name="CasellaDiTesto 2571">
            <a:extLst>
              <a:ext uri="{FF2B5EF4-FFF2-40B4-BE49-F238E27FC236}">
                <a16:creationId xmlns:a16="http://schemas.microsoft.com/office/drawing/2014/main" id="{DB9657B1-6EC9-178C-2CAB-1A9DE8D8BD08}"/>
              </a:ext>
            </a:extLst>
          </p:cNvPr>
          <p:cNvSpPr txBox="1"/>
          <p:nvPr/>
        </p:nvSpPr>
        <p:spPr>
          <a:xfrm>
            <a:off x="8396954" y="3024827"/>
            <a:ext cx="273925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90</a:t>
            </a:r>
          </a:p>
        </p:txBody>
      </p:sp>
      <p:sp>
        <p:nvSpPr>
          <p:cNvPr id="2573" name="CasellaDiTesto 2572">
            <a:extLst>
              <a:ext uri="{FF2B5EF4-FFF2-40B4-BE49-F238E27FC236}">
                <a16:creationId xmlns:a16="http://schemas.microsoft.com/office/drawing/2014/main" id="{4E62C3EA-F846-8D76-0A6B-A0CF8B1A7059}"/>
              </a:ext>
            </a:extLst>
          </p:cNvPr>
          <p:cNvSpPr txBox="1"/>
          <p:nvPr/>
        </p:nvSpPr>
        <p:spPr>
          <a:xfrm>
            <a:off x="8542373" y="3027790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4.400 m²</a:t>
            </a:r>
          </a:p>
        </p:txBody>
      </p:sp>
      <p:sp>
        <p:nvSpPr>
          <p:cNvPr id="2574" name="TextBox 27">
            <a:extLst>
              <a:ext uri="{FF2B5EF4-FFF2-40B4-BE49-F238E27FC236}">
                <a16:creationId xmlns:a16="http://schemas.microsoft.com/office/drawing/2014/main" id="{F4331B07-9BBD-360A-72B4-F9E1AEBF519F}"/>
              </a:ext>
            </a:extLst>
          </p:cNvPr>
          <p:cNvSpPr txBox="1"/>
          <p:nvPr/>
        </p:nvSpPr>
        <p:spPr>
          <a:xfrm>
            <a:off x="7143123" y="3186639"/>
            <a:ext cx="1792553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Nuovo Baulino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it-IT" sz="479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Aldo Moro 33, Caselle Torinese (TO)</a:t>
            </a:r>
            <a:endParaRPr kumimoji="0" lang="fr-FR" sz="479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75" name="Gruppo 2574">
            <a:extLst>
              <a:ext uri="{FF2B5EF4-FFF2-40B4-BE49-F238E27FC236}">
                <a16:creationId xmlns:a16="http://schemas.microsoft.com/office/drawing/2014/main" id="{B828EA91-CE2A-BA76-18B3-34F87A0E3AFA}"/>
              </a:ext>
            </a:extLst>
          </p:cNvPr>
          <p:cNvGrpSpPr/>
          <p:nvPr/>
        </p:nvGrpSpPr>
        <p:grpSpPr>
          <a:xfrm>
            <a:off x="8630387" y="3210590"/>
            <a:ext cx="203012" cy="136650"/>
            <a:chOff x="6680569" y="1801627"/>
            <a:chExt cx="1118141" cy="827905"/>
          </a:xfrm>
        </p:grpSpPr>
        <p:pic>
          <p:nvPicPr>
            <p:cNvPr id="2960" name="Image 172">
              <a:extLst>
                <a:ext uri="{FF2B5EF4-FFF2-40B4-BE49-F238E27FC236}">
                  <a16:creationId xmlns:a16="http://schemas.microsoft.com/office/drawing/2014/main" id="{56F0DE3F-7A8E-88A6-4287-4975F35296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61" name="Rettangolo 2960">
              <a:extLst>
                <a:ext uri="{FF2B5EF4-FFF2-40B4-BE49-F238E27FC236}">
                  <a16:creationId xmlns:a16="http://schemas.microsoft.com/office/drawing/2014/main" id="{60A4D2DC-8126-D7FD-90E3-E19BD8BC2580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62" name="Rettangolo 2961">
              <a:extLst>
                <a:ext uri="{FF2B5EF4-FFF2-40B4-BE49-F238E27FC236}">
                  <a16:creationId xmlns:a16="http://schemas.microsoft.com/office/drawing/2014/main" id="{060894D3-45C6-038B-F9ED-FC169DFD5192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76" name="Image 136">
            <a:extLst>
              <a:ext uri="{FF2B5EF4-FFF2-40B4-BE49-F238E27FC236}">
                <a16:creationId xmlns:a16="http://schemas.microsoft.com/office/drawing/2014/main" id="{FBC79F77-41A3-B8C4-BCAC-CD1268CF888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116" y="3218970"/>
            <a:ext cx="129825" cy="131388"/>
          </a:xfrm>
          <a:prstGeom prst="rect">
            <a:avLst/>
          </a:prstGeom>
        </p:spPr>
      </p:pic>
      <p:sp>
        <p:nvSpPr>
          <p:cNvPr id="2577" name="CasellaDiTesto 2576">
            <a:extLst>
              <a:ext uri="{FF2B5EF4-FFF2-40B4-BE49-F238E27FC236}">
                <a16:creationId xmlns:a16="http://schemas.microsoft.com/office/drawing/2014/main" id="{67BB0AD6-C24F-6A89-C66D-15736D5D5399}"/>
              </a:ext>
            </a:extLst>
          </p:cNvPr>
          <p:cNvSpPr txBox="1"/>
          <p:nvPr/>
        </p:nvSpPr>
        <p:spPr>
          <a:xfrm>
            <a:off x="8382763" y="3311767"/>
            <a:ext cx="28187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78" name="CasellaDiTesto 2577">
            <a:extLst>
              <a:ext uri="{FF2B5EF4-FFF2-40B4-BE49-F238E27FC236}">
                <a16:creationId xmlns:a16="http://schemas.microsoft.com/office/drawing/2014/main" id="{62A229D2-0C14-34A3-D257-914940D62234}"/>
              </a:ext>
            </a:extLst>
          </p:cNvPr>
          <p:cNvSpPr txBox="1"/>
          <p:nvPr/>
        </p:nvSpPr>
        <p:spPr>
          <a:xfrm>
            <a:off x="8542373" y="3314730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5.800 m²</a:t>
            </a:r>
          </a:p>
        </p:txBody>
      </p:sp>
      <p:sp>
        <p:nvSpPr>
          <p:cNvPr id="2579" name="TextBox 27">
            <a:extLst>
              <a:ext uri="{FF2B5EF4-FFF2-40B4-BE49-F238E27FC236}">
                <a16:creationId xmlns:a16="http://schemas.microsoft.com/office/drawing/2014/main" id="{A435A41C-51AA-202F-BCC2-2F3DCEFFE373}"/>
              </a:ext>
            </a:extLst>
          </p:cNvPr>
          <p:cNvSpPr txBox="1"/>
          <p:nvPr/>
        </p:nvSpPr>
        <p:spPr>
          <a:xfrm>
            <a:off x="7130991" y="3467921"/>
            <a:ext cx="1802785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Gianni Rodari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en-US" sz="506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Verbano 289, Novara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80" name="Gruppo 2579">
            <a:extLst>
              <a:ext uri="{FF2B5EF4-FFF2-40B4-BE49-F238E27FC236}">
                <a16:creationId xmlns:a16="http://schemas.microsoft.com/office/drawing/2014/main" id="{C97F38A4-C408-7BFD-67BB-A611519BCE8E}"/>
              </a:ext>
            </a:extLst>
          </p:cNvPr>
          <p:cNvGrpSpPr/>
          <p:nvPr/>
        </p:nvGrpSpPr>
        <p:grpSpPr>
          <a:xfrm>
            <a:off x="8618255" y="3491872"/>
            <a:ext cx="203012" cy="136650"/>
            <a:chOff x="6680569" y="1801627"/>
            <a:chExt cx="1118141" cy="827905"/>
          </a:xfrm>
        </p:grpSpPr>
        <p:pic>
          <p:nvPicPr>
            <p:cNvPr id="2957" name="Image 172">
              <a:extLst>
                <a:ext uri="{FF2B5EF4-FFF2-40B4-BE49-F238E27FC236}">
                  <a16:creationId xmlns:a16="http://schemas.microsoft.com/office/drawing/2014/main" id="{99EDE2C0-CD68-AA5B-165F-E1628A0F80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58" name="Rettangolo 2957">
              <a:extLst>
                <a:ext uri="{FF2B5EF4-FFF2-40B4-BE49-F238E27FC236}">
                  <a16:creationId xmlns:a16="http://schemas.microsoft.com/office/drawing/2014/main" id="{E6AF702B-DDA9-6B8D-9AF6-5F5C4465B60F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59" name="Rettangolo 2958">
              <a:extLst>
                <a:ext uri="{FF2B5EF4-FFF2-40B4-BE49-F238E27FC236}">
                  <a16:creationId xmlns:a16="http://schemas.microsoft.com/office/drawing/2014/main" id="{055B04D5-3129-9E2B-1DC3-A1E53329A2C5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81" name="Image 136">
            <a:extLst>
              <a:ext uri="{FF2B5EF4-FFF2-40B4-BE49-F238E27FC236}">
                <a16:creationId xmlns:a16="http://schemas.microsoft.com/office/drawing/2014/main" id="{BE66E133-E9C2-7485-6DC0-165C2F9C89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9983" y="3500252"/>
            <a:ext cx="129825" cy="131388"/>
          </a:xfrm>
          <a:prstGeom prst="rect">
            <a:avLst/>
          </a:prstGeom>
        </p:spPr>
      </p:pic>
      <p:sp>
        <p:nvSpPr>
          <p:cNvPr id="2582" name="CasellaDiTesto 2581">
            <a:extLst>
              <a:ext uri="{FF2B5EF4-FFF2-40B4-BE49-F238E27FC236}">
                <a16:creationId xmlns:a16="http://schemas.microsoft.com/office/drawing/2014/main" id="{AEB0E9B9-0DCA-0521-E928-B8988243D579}"/>
              </a:ext>
            </a:extLst>
          </p:cNvPr>
          <p:cNvSpPr txBox="1"/>
          <p:nvPr/>
        </p:nvSpPr>
        <p:spPr>
          <a:xfrm>
            <a:off x="8375476" y="3593048"/>
            <a:ext cx="306966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20</a:t>
            </a:r>
          </a:p>
        </p:txBody>
      </p:sp>
      <p:sp>
        <p:nvSpPr>
          <p:cNvPr id="2583" name="CasellaDiTesto 2582">
            <a:extLst>
              <a:ext uri="{FF2B5EF4-FFF2-40B4-BE49-F238E27FC236}">
                <a16:creationId xmlns:a16="http://schemas.microsoft.com/office/drawing/2014/main" id="{EFF75CCA-3531-8FD5-77A4-439E16C12DE6}"/>
              </a:ext>
            </a:extLst>
          </p:cNvPr>
          <p:cNvSpPr txBox="1"/>
          <p:nvPr/>
        </p:nvSpPr>
        <p:spPr>
          <a:xfrm>
            <a:off x="8530241" y="3596012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6.000 m²</a:t>
            </a:r>
          </a:p>
        </p:txBody>
      </p:sp>
      <p:sp>
        <p:nvSpPr>
          <p:cNvPr id="2584" name="TextBox 27">
            <a:extLst>
              <a:ext uri="{FF2B5EF4-FFF2-40B4-BE49-F238E27FC236}">
                <a16:creationId xmlns:a16="http://schemas.microsoft.com/office/drawing/2014/main" id="{8320819B-35A8-C340-5106-C2B7D9D9EACA}"/>
              </a:ext>
            </a:extLst>
          </p:cNvPr>
          <p:cNvSpPr txBox="1"/>
          <p:nvPr/>
        </p:nvSpPr>
        <p:spPr>
          <a:xfrm>
            <a:off x="7137863" y="3756917"/>
            <a:ext cx="1802785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Orchidea Alessandria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it-IT" sz="506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Don G. Rizzante 100, Alessandria</a:t>
            </a: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85" name="Gruppo 2584">
            <a:extLst>
              <a:ext uri="{FF2B5EF4-FFF2-40B4-BE49-F238E27FC236}">
                <a16:creationId xmlns:a16="http://schemas.microsoft.com/office/drawing/2014/main" id="{F10AF81E-1160-4C32-BBC2-AF0D131871EB}"/>
              </a:ext>
            </a:extLst>
          </p:cNvPr>
          <p:cNvGrpSpPr/>
          <p:nvPr/>
        </p:nvGrpSpPr>
        <p:grpSpPr>
          <a:xfrm>
            <a:off x="8625127" y="3780868"/>
            <a:ext cx="203012" cy="136650"/>
            <a:chOff x="6680569" y="1801627"/>
            <a:chExt cx="1118141" cy="827905"/>
          </a:xfrm>
        </p:grpSpPr>
        <p:pic>
          <p:nvPicPr>
            <p:cNvPr id="2954" name="Image 172">
              <a:extLst>
                <a:ext uri="{FF2B5EF4-FFF2-40B4-BE49-F238E27FC236}">
                  <a16:creationId xmlns:a16="http://schemas.microsoft.com/office/drawing/2014/main" id="{D0768ABE-AC44-AC0E-8A4A-08F6DD6554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55" name="Rettangolo 2954">
              <a:extLst>
                <a:ext uri="{FF2B5EF4-FFF2-40B4-BE49-F238E27FC236}">
                  <a16:creationId xmlns:a16="http://schemas.microsoft.com/office/drawing/2014/main" id="{ECB71A29-3D97-5FB3-38AA-80FDDD33E532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56" name="Rettangolo 2955">
              <a:extLst>
                <a:ext uri="{FF2B5EF4-FFF2-40B4-BE49-F238E27FC236}">
                  <a16:creationId xmlns:a16="http://schemas.microsoft.com/office/drawing/2014/main" id="{67EEF156-824E-3FCB-CDBA-AF6B5B04C19B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86" name="Image 136">
            <a:extLst>
              <a:ext uri="{FF2B5EF4-FFF2-40B4-BE49-F238E27FC236}">
                <a16:creationId xmlns:a16="http://schemas.microsoft.com/office/drawing/2014/main" id="{30D388DE-5E71-E78C-1582-20A55437B7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6856" y="3789248"/>
            <a:ext cx="129825" cy="131388"/>
          </a:xfrm>
          <a:prstGeom prst="rect">
            <a:avLst/>
          </a:prstGeom>
        </p:spPr>
      </p:pic>
      <p:sp>
        <p:nvSpPr>
          <p:cNvPr id="2587" name="CasellaDiTesto 2586">
            <a:extLst>
              <a:ext uri="{FF2B5EF4-FFF2-40B4-BE49-F238E27FC236}">
                <a16:creationId xmlns:a16="http://schemas.microsoft.com/office/drawing/2014/main" id="{EC482DA3-C005-17AB-2428-17CF639BF857}"/>
              </a:ext>
            </a:extLst>
          </p:cNvPr>
          <p:cNvSpPr txBox="1"/>
          <p:nvPr/>
        </p:nvSpPr>
        <p:spPr>
          <a:xfrm>
            <a:off x="8377304" y="3882045"/>
            <a:ext cx="28758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42</a:t>
            </a:r>
          </a:p>
        </p:txBody>
      </p:sp>
      <p:sp>
        <p:nvSpPr>
          <p:cNvPr id="2588" name="CasellaDiTesto 2587">
            <a:extLst>
              <a:ext uri="{FF2B5EF4-FFF2-40B4-BE49-F238E27FC236}">
                <a16:creationId xmlns:a16="http://schemas.microsoft.com/office/drawing/2014/main" id="{DEA8391E-142C-76B0-770C-2070F9A46D33}"/>
              </a:ext>
            </a:extLst>
          </p:cNvPr>
          <p:cNvSpPr txBox="1"/>
          <p:nvPr/>
        </p:nvSpPr>
        <p:spPr>
          <a:xfrm>
            <a:off x="8537113" y="3885008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5.800 m²</a:t>
            </a:r>
          </a:p>
        </p:txBody>
      </p:sp>
      <p:sp>
        <p:nvSpPr>
          <p:cNvPr id="2589" name="TextBox 27">
            <a:extLst>
              <a:ext uri="{FF2B5EF4-FFF2-40B4-BE49-F238E27FC236}">
                <a16:creationId xmlns:a16="http://schemas.microsoft.com/office/drawing/2014/main" id="{DBCC40A0-97F8-26E8-9EDB-564EE7816B6A}"/>
              </a:ext>
            </a:extLst>
          </p:cNvPr>
          <p:cNvSpPr txBox="1"/>
          <p:nvPr/>
        </p:nvSpPr>
        <p:spPr>
          <a:xfrm>
            <a:off x="7125731" y="4038835"/>
            <a:ext cx="1814917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Orchidea Castelferro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fr-FR" sz="506" b="0" i="0" u="none" strike="noStrike" kern="0" cap="none" spc="0" normalizeH="0" baseline="0" noProof="1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Carpeneto 2, Predosa (AL)</a:t>
            </a:r>
          </a:p>
        </p:txBody>
      </p:sp>
      <p:grpSp>
        <p:nvGrpSpPr>
          <p:cNvPr id="2590" name="Gruppo 2589">
            <a:extLst>
              <a:ext uri="{FF2B5EF4-FFF2-40B4-BE49-F238E27FC236}">
                <a16:creationId xmlns:a16="http://schemas.microsoft.com/office/drawing/2014/main" id="{983F476D-1AD5-7085-7C11-F710A3560DF8}"/>
              </a:ext>
            </a:extLst>
          </p:cNvPr>
          <p:cNvGrpSpPr/>
          <p:nvPr/>
        </p:nvGrpSpPr>
        <p:grpSpPr>
          <a:xfrm>
            <a:off x="8612995" y="4062786"/>
            <a:ext cx="203012" cy="136650"/>
            <a:chOff x="6680569" y="1801627"/>
            <a:chExt cx="1118141" cy="827905"/>
          </a:xfrm>
        </p:grpSpPr>
        <p:pic>
          <p:nvPicPr>
            <p:cNvPr id="2951" name="Image 172">
              <a:extLst>
                <a:ext uri="{FF2B5EF4-FFF2-40B4-BE49-F238E27FC236}">
                  <a16:creationId xmlns:a16="http://schemas.microsoft.com/office/drawing/2014/main" id="{17BC6D23-BEB5-EC25-ECED-F2003FF50C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80569" y="1896312"/>
              <a:ext cx="1118141" cy="733220"/>
            </a:xfrm>
            <a:prstGeom prst="rect">
              <a:avLst/>
            </a:prstGeom>
          </p:spPr>
        </p:pic>
        <p:sp>
          <p:nvSpPr>
            <p:cNvPr id="2952" name="Rettangolo 2951">
              <a:extLst>
                <a:ext uri="{FF2B5EF4-FFF2-40B4-BE49-F238E27FC236}">
                  <a16:creationId xmlns:a16="http://schemas.microsoft.com/office/drawing/2014/main" id="{C3B2FC88-D71E-08AF-1294-84632F346DB0}"/>
                </a:ext>
              </a:extLst>
            </p:cNvPr>
            <p:cNvSpPr/>
            <p:nvPr/>
          </p:nvSpPr>
          <p:spPr>
            <a:xfrm rot="19891283">
              <a:off x="6852243" y="1801627"/>
              <a:ext cx="356717" cy="17772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53" name="Rettangolo 2952">
              <a:extLst>
                <a:ext uri="{FF2B5EF4-FFF2-40B4-BE49-F238E27FC236}">
                  <a16:creationId xmlns:a16="http://schemas.microsoft.com/office/drawing/2014/main" id="{D6697086-DA19-A858-B099-C549647B1184}"/>
                </a:ext>
              </a:extLst>
            </p:cNvPr>
            <p:cNvSpPr/>
            <p:nvPr/>
          </p:nvSpPr>
          <p:spPr>
            <a:xfrm rot="1745153">
              <a:off x="7422746" y="1859443"/>
              <a:ext cx="248771" cy="18947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91" name="Image 136">
            <a:extLst>
              <a:ext uri="{FF2B5EF4-FFF2-40B4-BE49-F238E27FC236}">
                <a16:creationId xmlns:a16="http://schemas.microsoft.com/office/drawing/2014/main" id="{0FC23774-907B-57D6-EBCA-3BA9A6C713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4723" y="4071166"/>
            <a:ext cx="129825" cy="131388"/>
          </a:xfrm>
          <a:prstGeom prst="rect">
            <a:avLst/>
          </a:prstGeom>
        </p:spPr>
      </p:pic>
      <p:sp>
        <p:nvSpPr>
          <p:cNvPr id="2592" name="CasellaDiTesto 2591">
            <a:extLst>
              <a:ext uri="{FF2B5EF4-FFF2-40B4-BE49-F238E27FC236}">
                <a16:creationId xmlns:a16="http://schemas.microsoft.com/office/drawing/2014/main" id="{FF39E3A1-6146-E0EE-EF38-B40FF670637A}"/>
              </a:ext>
            </a:extLst>
          </p:cNvPr>
          <p:cNvSpPr txBox="1"/>
          <p:nvPr/>
        </p:nvSpPr>
        <p:spPr>
          <a:xfrm>
            <a:off x="8384606" y="4163962"/>
            <a:ext cx="273925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74</a:t>
            </a:r>
          </a:p>
        </p:txBody>
      </p:sp>
      <p:sp>
        <p:nvSpPr>
          <p:cNvPr id="2593" name="CasellaDiTesto 2592">
            <a:extLst>
              <a:ext uri="{FF2B5EF4-FFF2-40B4-BE49-F238E27FC236}">
                <a16:creationId xmlns:a16="http://schemas.microsoft.com/office/drawing/2014/main" id="{E918BAA5-CB29-47D8-0640-B86E9830A640}"/>
              </a:ext>
            </a:extLst>
          </p:cNvPr>
          <p:cNvSpPr txBox="1"/>
          <p:nvPr/>
        </p:nvSpPr>
        <p:spPr>
          <a:xfrm>
            <a:off x="8524981" y="4166926"/>
            <a:ext cx="517808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3.600 m²</a:t>
            </a:r>
          </a:p>
        </p:txBody>
      </p:sp>
      <p:sp>
        <p:nvSpPr>
          <p:cNvPr id="2594" name="Oval 49">
            <a:extLst>
              <a:ext uri="{FF2B5EF4-FFF2-40B4-BE49-F238E27FC236}">
                <a16:creationId xmlns:a16="http://schemas.microsoft.com/office/drawing/2014/main" id="{30D6EE6F-5730-BAE3-53B0-FCA73E8D46C3}"/>
              </a:ext>
            </a:extLst>
          </p:cNvPr>
          <p:cNvSpPr/>
          <p:nvPr/>
        </p:nvSpPr>
        <p:spPr>
          <a:xfrm>
            <a:off x="2969532" y="1705247"/>
            <a:ext cx="142696" cy="141794"/>
          </a:xfrm>
          <a:prstGeom prst="ellipse">
            <a:avLst/>
          </a:prstGeom>
          <a:solidFill>
            <a:srgbClr val="F47575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1</a:t>
            </a:r>
          </a:p>
        </p:txBody>
      </p:sp>
      <p:sp>
        <p:nvSpPr>
          <p:cNvPr id="2595" name="CasellaDiTesto 2594">
            <a:extLst>
              <a:ext uri="{FF2B5EF4-FFF2-40B4-BE49-F238E27FC236}">
                <a16:creationId xmlns:a16="http://schemas.microsoft.com/office/drawing/2014/main" id="{EBFA86B4-DE99-58A6-702A-4A18454B54DF}"/>
              </a:ext>
            </a:extLst>
          </p:cNvPr>
          <p:cNvSpPr txBox="1"/>
          <p:nvPr/>
        </p:nvSpPr>
        <p:spPr>
          <a:xfrm>
            <a:off x="4282983" y="1784768"/>
            <a:ext cx="322534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49</a:t>
            </a:r>
          </a:p>
        </p:txBody>
      </p:sp>
      <p:sp>
        <p:nvSpPr>
          <p:cNvPr id="2596" name="CasellaDiTesto 2595">
            <a:extLst>
              <a:ext uri="{FF2B5EF4-FFF2-40B4-BE49-F238E27FC236}">
                <a16:creationId xmlns:a16="http://schemas.microsoft.com/office/drawing/2014/main" id="{750EE351-E81D-6374-EC40-8D3593969AE6}"/>
              </a:ext>
            </a:extLst>
          </p:cNvPr>
          <p:cNvSpPr txBox="1"/>
          <p:nvPr/>
        </p:nvSpPr>
        <p:spPr>
          <a:xfrm>
            <a:off x="4434444" y="1780771"/>
            <a:ext cx="52092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6.900 m²</a:t>
            </a:r>
          </a:p>
        </p:txBody>
      </p:sp>
      <p:sp>
        <p:nvSpPr>
          <p:cNvPr id="2597" name="TextBox 27">
            <a:extLst>
              <a:ext uri="{FF2B5EF4-FFF2-40B4-BE49-F238E27FC236}">
                <a16:creationId xmlns:a16="http://schemas.microsoft.com/office/drawing/2014/main" id="{B9EDB895-72B2-C253-7D4B-94148565804F}"/>
              </a:ext>
            </a:extLst>
          </p:cNvPr>
          <p:cNvSpPr txBox="1"/>
          <p:nvPr/>
        </p:nvSpPr>
        <p:spPr>
          <a:xfrm>
            <a:off x="3044330" y="1967888"/>
            <a:ext cx="1838592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6" b="1" i="0" u="none" strike="noStrike" kern="0" cap="none" spc="0" normalizeH="0" baseline="0" noProof="1">
              <a:ln>
                <a:noFill/>
              </a:ln>
              <a:solidFill>
                <a:srgbClr val="F47575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l Palio</a:t>
            </a:r>
            <a:endParaRPr kumimoji="0" lang="it-IT" sz="61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Papa Pio XI 14, Legnano (MI)</a:t>
            </a:r>
            <a:r>
              <a:rPr kumimoji="0" lang="it-IT" sz="506" b="0" i="0" u="none" strike="noStrike" kern="0" cap="none" spc="0" normalizeH="0" baseline="0" noProof="0" dirty="0">
                <a:ln>
                  <a:noFill/>
                </a:ln>
                <a:solidFill>
                  <a:srgbClr val="252525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	</a:t>
            </a: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506" b="0" i="0" u="none" strike="noStrike" kern="0" cap="none" spc="0" normalizeH="0" baseline="0" noProof="1">
              <a:ln>
                <a:noFill/>
              </a:ln>
              <a:solidFill>
                <a:srgbClr val="F47575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598" name="Gruppo 2597">
            <a:extLst>
              <a:ext uri="{FF2B5EF4-FFF2-40B4-BE49-F238E27FC236}">
                <a16:creationId xmlns:a16="http://schemas.microsoft.com/office/drawing/2014/main" id="{58ADF7B0-448B-E1B3-94F0-4919F78B1E80}"/>
              </a:ext>
            </a:extLst>
          </p:cNvPr>
          <p:cNvGrpSpPr>
            <a:grpSpLocks noChangeAspect="1"/>
          </p:cNvGrpSpPr>
          <p:nvPr/>
        </p:nvGrpSpPr>
        <p:grpSpPr>
          <a:xfrm>
            <a:off x="4527976" y="1971849"/>
            <a:ext cx="212032" cy="158279"/>
            <a:chOff x="7617796" y="1610157"/>
            <a:chExt cx="2253536" cy="1673784"/>
          </a:xfrm>
        </p:grpSpPr>
        <p:pic>
          <p:nvPicPr>
            <p:cNvPr id="2948" name="Image 64">
              <a:extLst>
                <a:ext uri="{FF2B5EF4-FFF2-40B4-BE49-F238E27FC236}">
                  <a16:creationId xmlns:a16="http://schemas.microsoft.com/office/drawing/2014/main" id="{52F510DC-6339-9202-DDB2-F91F8CA512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49" name="Rettangolo 2948">
              <a:extLst>
                <a:ext uri="{FF2B5EF4-FFF2-40B4-BE49-F238E27FC236}">
                  <a16:creationId xmlns:a16="http://schemas.microsoft.com/office/drawing/2014/main" id="{6B30D60C-FB69-E55C-4A04-134846F5D6CF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50" name="Rettangolo 2949">
              <a:extLst>
                <a:ext uri="{FF2B5EF4-FFF2-40B4-BE49-F238E27FC236}">
                  <a16:creationId xmlns:a16="http://schemas.microsoft.com/office/drawing/2014/main" id="{304059D9-5526-0D00-AF3E-6E09A3AC8782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599" name="Image 28">
            <a:extLst>
              <a:ext uri="{FF2B5EF4-FFF2-40B4-BE49-F238E27FC236}">
                <a16:creationId xmlns:a16="http://schemas.microsoft.com/office/drawing/2014/main" id="{EFE33956-FD6D-8A0A-060A-B714F8C26E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1421" y="1990822"/>
            <a:ext cx="146381" cy="137700"/>
          </a:xfrm>
          <a:prstGeom prst="rect">
            <a:avLst/>
          </a:prstGeom>
        </p:spPr>
      </p:pic>
      <p:sp>
        <p:nvSpPr>
          <p:cNvPr id="2600" name="Oval 49">
            <a:extLst>
              <a:ext uri="{FF2B5EF4-FFF2-40B4-BE49-F238E27FC236}">
                <a16:creationId xmlns:a16="http://schemas.microsoft.com/office/drawing/2014/main" id="{5F3874A8-F179-7E2A-44A2-A2CD10F380FD}"/>
              </a:ext>
            </a:extLst>
          </p:cNvPr>
          <p:cNvSpPr/>
          <p:nvPr/>
        </p:nvSpPr>
        <p:spPr>
          <a:xfrm>
            <a:off x="2972981" y="2007322"/>
            <a:ext cx="142696" cy="141794"/>
          </a:xfrm>
          <a:prstGeom prst="ellipse">
            <a:avLst/>
          </a:prstGeom>
          <a:solidFill>
            <a:srgbClr val="F47575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2</a:t>
            </a:r>
          </a:p>
        </p:txBody>
      </p:sp>
      <p:sp>
        <p:nvSpPr>
          <p:cNvPr id="2601" name="CasellaDiTesto 2600">
            <a:extLst>
              <a:ext uri="{FF2B5EF4-FFF2-40B4-BE49-F238E27FC236}">
                <a16:creationId xmlns:a16="http://schemas.microsoft.com/office/drawing/2014/main" id="{652BCFF7-9716-EEDB-8DFA-2FAB2838517F}"/>
              </a:ext>
            </a:extLst>
          </p:cNvPr>
          <p:cNvSpPr txBox="1"/>
          <p:nvPr/>
        </p:nvSpPr>
        <p:spPr>
          <a:xfrm>
            <a:off x="4307216" y="2086842"/>
            <a:ext cx="27557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86</a:t>
            </a:r>
          </a:p>
        </p:txBody>
      </p:sp>
      <p:sp>
        <p:nvSpPr>
          <p:cNvPr id="2602" name="CasellaDiTesto 2601">
            <a:extLst>
              <a:ext uri="{FF2B5EF4-FFF2-40B4-BE49-F238E27FC236}">
                <a16:creationId xmlns:a16="http://schemas.microsoft.com/office/drawing/2014/main" id="{74B4626E-729E-6D45-42CE-AED8A5A82BE9}"/>
              </a:ext>
            </a:extLst>
          </p:cNvPr>
          <p:cNvSpPr txBox="1"/>
          <p:nvPr/>
        </p:nvSpPr>
        <p:spPr>
          <a:xfrm>
            <a:off x="4438352" y="2082845"/>
            <a:ext cx="52092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5.300 m²</a:t>
            </a:r>
          </a:p>
        </p:txBody>
      </p:sp>
      <p:sp>
        <p:nvSpPr>
          <p:cNvPr id="2603" name="TextBox 27">
            <a:extLst>
              <a:ext uri="{FF2B5EF4-FFF2-40B4-BE49-F238E27FC236}">
                <a16:creationId xmlns:a16="http://schemas.microsoft.com/office/drawing/2014/main" id="{9CA0CD1B-7F36-5394-9EC0-3292BF53D98B}"/>
              </a:ext>
            </a:extLst>
          </p:cNvPr>
          <p:cNvSpPr txBox="1"/>
          <p:nvPr/>
        </p:nvSpPr>
        <p:spPr>
          <a:xfrm>
            <a:off x="3049262" y="2276269"/>
            <a:ext cx="1838592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Oasi</a:t>
            </a:r>
          </a:p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79" b="0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Don L. Sturzo 5, Cerro Maggiore (MI)</a:t>
            </a:r>
            <a:endParaRPr kumimoji="0" lang="fr-FR" sz="479" b="0" i="0" u="none" strike="noStrike" kern="0" cap="none" spc="0" normalizeH="0" baseline="0" noProof="1">
              <a:ln>
                <a:noFill/>
              </a:ln>
              <a:solidFill>
                <a:srgbClr val="F47575"/>
              </a:solidFill>
              <a:effectLst/>
              <a:uLnTx/>
              <a:uFillTx/>
              <a:latin typeface="Century Gothic"/>
              <a:cs typeface="Arial"/>
              <a:sym typeface="Arial"/>
            </a:endParaRPr>
          </a:p>
        </p:txBody>
      </p:sp>
      <p:grpSp>
        <p:nvGrpSpPr>
          <p:cNvPr id="2604" name="Gruppo 2603">
            <a:extLst>
              <a:ext uri="{FF2B5EF4-FFF2-40B4-BE49-F238E27FC236}">
                <a16:creationId xmlns:a16="http://schemas.microsoft.com/office/drawing/2014/main" id="{C9FB2671-B432-736C-141B-65E393AB3638}"/>
              </a:ext>
            </a:extLst>
          </p:cNvPr>
          <p:cNvGrpSpPr>
            <a:grpSpLocks noChangeAspect="1"/>
          </p:cNvGrpSpPr>
          <p:nvPr/>
        </p:nvGrpSpPr>
        <p:grpSpPr>
          <a:xfrm>
            <a:off x="4532908" y="2280230"/>
            <a:ext cx="212032" cy="158279"/>
            <a:chOff x="7617796" y="1610157"/>
            <a:chExt cx="2253536" cy="1673784"/>
          </a:xfrm>
        </p:grpSpPr>
        <p:pic>
          <p:nvPicPr>
            <p:cNvPr id="2945" name="Image 64">
              <a:extLst>
                <a:ext uri="{FF2B5EF4-FFF2-40B4-BE49-F238E27FC236}">
                  <a16:creationId xmlns:a16="http://schemas.microsoft.com/office/drawing/2014/main" id="{20EA707E-0F0F-9E1B-4FAB-12DEB3446B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46" name="Rettangolo 2945">
              <a:extLst>
                <a:ext uri="{FF2B5EF4-FFF2-40B4-BE49-F238E27FC236}">
                  <a16:creationId xmlns:a16="http://schemas.microsoft.com/office/drawing/2014/main" id="{725F29C9-CCD8-F147-9CC7-8458770F1496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47" name="Rettangolo 2946">
              <a:extLst>
                <a:ext uri="{FF2B5EF4-FFF2-40B4-BE49-F238E27FC236}">
                  <a16:creationId xmlns:a16="http://schemas.microsoft.com/office/drawing/2014/main" id="{3767D6A3-DEE5-CC64-FCC9-C0E182A0C6A1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605" name="Image 28">
            <a:extLst>
              <a:ext uri="{FF2B5EF4-FFF2-40B4-BE49-F238E27FC236}">
                <a16:creationId xmlns:a16="http://schemas.microsoft.com/office/drawing/2014/main" id="{119851BE-BF7B-FE1F-1F17-6AF9F16F35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352" y="2299203"/>
            <a:ext cx="146381" cy="137700"/>
          </a:xfrm>
          <a:prstGeom prst="rect">
            <a:avLst/>
          </a:prstGeom>
        </p:spPr>
      </p:pic>
      <p:sp>
        <p:nvSpPr>
          <p:cNvPr id="2606" name="Oval 49">
            <a:extLst>
              <a:ext uri="{FF2B5EF4-FFF2-40B4-BE49-F238E27FC236}">
                <a16:creationId xmlns:a16="http://schemas.microsoft.com/office/drawing/2014/main" id="{1C4D449E-E161-BD23-76F1-4FD570F88483}"/>
              </a:ext>
            </a:extLst>
          </p:cNvPr>
          <p:cNvSpPr/>
          <p:nvPr/>
        </p:nvSpPr>
        <p:spPr>
          <a:xfrm>
            <a:off x="2977912" y="2315702"/>
            <a:ext cx="142696" cy="141794"/>
          </a:xfrm>
          <a:prstGeom prst="ellipse">
            <a:avLst/>
          </a:prstGeom>
          <a:solidFill>
            <a:srgbClr val="F47575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3</a:t>
            </a:r>
          </a:p>
        </p:txBody>
      </p:sp>
      <p:sp>
        <p:nvSpPr>
          <p:cNvPr id="2607" name="CasellaDiTesto 2606">
            <a:extLst>
              <a:ext uri="{FF2B5EF4-FFF2-40B4-BE49-F238E27FC236}">
                <a16:creationId xmlns:a16="http://schemas.microsoft.com/office/drawing/2014/main" id="{646F66C7-8BFE-9B54-3DA7-638D739440BE}"/>
              </a:ext>
            </a:extLst>
          </p:cNvPr>
          <p:cNvSpPr txBox="1"/>
          <p:nvPr/>
        </p:nvSpPr>
        <p:spPr>
          <a:xfrm>
            <a:off x="4293895" y="2402780"/>
            <a:ext cx="299259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14</a:t>
            </a:r>
          </a:p>
        </p:txBody>
      </p:sp>
      <p:sp>
        <p:nvSpPr>
          <p:cNvPr id="2608" name="CasellaDiTesto 2607">
            <a:extLst>
              <a:ext uri="{FF2B5EF4-FFF2-40B4-BE49-F238E27FC236}">
                <a16:creationId xmlns:a16="http://schemas.microsoft.com/office/drawing/2014/main" id="{0223A61C-E96D-9456-FA9E-E6DB782F455E}"/>
              </a:ext>
            </a:extLst>
          </p:cNvPr>
          <p:cNvSpPr txBox="1"/>
          <p:nvPr/>
        </p:nvSpPr>
        <p:spPr>
          <a:xfrm>
            <a:off x="4440604" y="2398782"/>
            <a:ext cx="52092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5.800 m²</a:t>
            </a:r>
          </a:p>
        </p:txBody>
      </p:sp>
      <p:sp>
        <p:nvSpPr>
          <p:cNvPr id="2609" name="TextBox 27">
            <a:extLst>
              <a:ext uri="{FF2B5EF4-FFF2-40B4-BE49-F238E27FC236}">
                <a16:creationId xmlns:a16="http://schemas.microsoft.com/office/drawing/2014/main" id="{F5BEBA9C-B710-0206-60C9-1D76DF7AA5C3}"/>
              </a:ext>
            </a:extLst>
          </p:cNvPr>
          <p:cNvSpPr txBox="1"/>
          <p:nvPr/>
        </p:nvSpPr>
        <p:spPr>
          <a:xfrm>
            <a:off x="3050953" y="2584994"/>
            <a:ext cx="1838591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 Laghi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fr-FR" sz="506" b="0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Molino 12/C, Montorfano (CO)</a:t>
            </a:r>
          </a:p>
        </p:txBody>
      </p:sp>
      <p:grpSp>
        <p:nvGrpSpPr>
          <p:cNvPr id="2610" name="Gruppo 2609">
            <a:extLst>
              <a:ext uri="{FF2B5EF4-FFF2-40B4-BE49-F238E27FC236}">
                <a16:creationId xmlns:a16="http://schemas.microsoft.com/office/drawing/2014/main" id="{F4F4EF58-E463-F26D-DEBA-AEA9714754BA}"/>
              </a:ext>
            </a:extLst>
          </p:cNvPr>
          <p:cNvGrpSpPr>
            <a:grpSpLocks noChangeAspect="1"/>
          </p:cNvGrpSpPr>
          <p:nvPr/>
        </p:nvGrpSpPr>
        <p:grpSpPr>
          <a:xfrm>
            <a:off x="4534600" y="2588955"/>
            <a:ext cx="212032" cy="158279"/>
            <a:chOff x="7617796" y="1610157"/>
            <a:chExt cx="2253536" cy="1673784"/>
          </a:xfrm>
        </p:grpSpPr>
        <p:pic>
          <p:nvPicPr>
            <p:cNvPr id="2942" name="Image 64">
              <a:extLst>
                <a:ext uri="{FF2B5EF4-FFF2-40B4-BE49-F238E27FC236}">
                  <a16:creationId xmlns:a16="http://schemas.microsoft.com/office/drawing/2014/main" id="{29E449C2-E5F9-79C6-818A-F430C12E47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43" name="Rettangolo 2942">
              <a:extLst>
                <a:ext uri="{FF2B5EF4-FFF2-40B4-BE49-F238E27FC236}">
                  <a16:creationId xmlns:a16="http://schemas.microsoft.com/office/drawing/2014/main" id="{03947A92-46B5-D98E-2978-3D59E320F7A9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44" name="Rettangolo 2943">
              <a:extLst>
                <a:ext uri="{FF2B5EF4-FFF2-40B4-BE49-F238E27FC236}">
                  <a16:creationId xmlns:a16="http://schemas.microsoft.com/office/drawing/2014/main" id="{66DC7857-1D4F-A8BF-A3A4-8026EF425109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611" name="Image 28">
            <a:extLst>
              <a:ext uri="{FF2B5EF4-FFF2-40B4-BE49-F238E27FC236}">
                <a16:creationId xmlns:a16="http://schemas.microsoft.com/office/drawing/2014/main" id="{C65BF60F-A45F-A145-6E8C-5C106E4E80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8044" y="2607928"/>
            <a:ext cx="146381" cy="137700"/>
          </a:xfrm>
          <a:prstGeom prst="rect">
            <a:avLst/>
          </a:prstGeom>
        </p:spPr>
      </p:pic>
      <p:sp>
        <p:nvSpPr>
          <p:cNvPr id="2612" name="Oval 49">
            <a:extLst>
              <a:ext uri="{FF2B5EF4-FFF2-40B4-BE49-F238E27FC236}">
                <a16:creationId xmlns:a16="http://schemas.microsoft.com/office/drawing/2014/main" id="{ED60CB03-BD5A-ECF3-A40B-670F108F2BD1}"/>
              </a:ext>
            </a:extLst>
          </p:cNvPr>
          <p:cNvSpPr/>
          <p:nvPr/>
        </p:nvSpPr>
        <p:spPr>
          <a:xfrm>
            <a:off x="2979604" y="2624427"/>
            <a:ext cx="142696" cy="141794"/>
          </a:xfrm>
          <a:prstGeom prst="ellipse">
            <a:avLst/>
          </a:prstGeom>
          <a:solidFill>
            <a:srgbClr val="F47575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4</a:t>
            </a:r>
          </a:p>
        </p:txBody>
      </p:sp>
      <p:sp>
        <p:nvSpPr>
          <p:cNvPr id="2613" name="CasellaDiTesto 2612">
            <a:extLst>
              <a:ext uri="{FF2B5EF4-FFF2-40B4-BE49-F238E27FC236}">
                <a16:creationId xmlns:a16="http://schemas.microsoft.com/office/drawing/2014/main" id="{9FE0879E-2093-0E05-46E6-01953BE8CFD2}"/>
              </a:ext>
            </a:extLst>
          </p:cNvPr>
          <p:cNvSpPr txBox="1"/>
          <p:nvPr/>
        </p:nvSpPr>
        <p:spPr>
          <a:xfrm>
            <a:off x="4306283" y="2703948"/>
            <a:ext cx="27557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80</a:t>
            </a:r>
          </a:p>
        </p:txBody>
      </p:sp>
      <p:sp>
        <p:nvSpPr>
          <p:cNvPr id="2614" name="CasellaDiTesto 2613">
            <a:extLst>
              <a:ext uri="{FF2B5EF4-FFF2-40B4-BE49-F238E27FC236}">
                <a16:creationId xmlns:a16="http://schemas.microsoft.com/office/drawing/2014/main" id="{72A582A1-A54D-5C99-9FD2-7AB4D47D6248}"/>
              </a:ext>
            </a:extLst>
          </p:cNvPr>
          <p:cNvSpPr txBox="1"/>
          <p:nvPr/>
        </p:nvSpPr>
        <p:spPr>
          <a:xfrm>
            <a:off x="4442296" y="2707508"/>
            <a:ext cx="52092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4.300 m²</a:t>
            </a:r>
          </a:p>
        </p:txBody>
      </p:sp>
      <p:sp>
        <p:nvSpPr>
          <p:cNvPr id="2615" name="TextBox 27">
            <a:extLst>
              <a:ext uri="{FF2B5EF4-FFF2-40B4-BE49-F238E27FC236}">
                <a16:creationId xmlns:a16="http://schemas.microsoft.com/office/drawing/2014/main" id="{527D21AD-65CB-DDA8-9434-627E288B64FB}"/>
              </a:ext>
            </a:extLst>
          </p:cNvPr>
          <p:cNvSpPr txBox="1"/>
          <p:nvPr/>
        </p:nvSpPr>
        <p:spPr>
          <a:xfrm>
            <a:off x="3048126" y="2879085"/>
            <a:ext cx="1842348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Il Gelso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fr-FR" sz="450" b="0" i="0" u="none" strike="noStrike" kern="0" cap="none" spc="0" normalizeH="0" baseline="0" noProof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Monte Baldo 5, Castel Goffredo (MN)</a:t>
            </a:r>
          </a:p>
        </p:txBody>
      </p:sp>
      <p:grpSp>
        <p:nvGrpSpPr>
          <p:cNvPr id="2616" name="Gruppo 2615">
            <a:extLst>
              <a:ext uri="{FF2B5EF4-FFF2-40B4-BE49-F238E27FC236}">
                <a16:creationId xmlns:a16="http://schemas.microsoft.com/office/drawing/2014/main" id="{D117BDA7-A629-F7ED-04E5-BE91553B2F17}"/>
              </a:ext>
            </a:extLst>
          </p:cNvPr>
          <p:cNvGrpSpPr>
            <a:grpSpLocks noChangeAspect="1"/>
          </p:cNvGrpSpPr>
          <p:nvPr/>
        </p:nvGrpSpPr>
        <p:grpSpPr>
          <a:xfrm>
            <a:off x="4531772" y="2883046"/>
            <a:ext cx="212032" cy="158279"/>
            <a:chOff x="7617796" y="1610157"/>
            <a:chExt cx="2253536" cy="1673784"/>
          </a:xfrm>
        </p:grpSpPr>
        <p:pic>
          <p:nvPicPr>
            <p:cNvPr id="2939" name="Image 64">
              <a:extLst>
                <a:ext uri="{FF2B5EF4-FFF2-40B4-BE49-F238E27FC236}">
                  <a16:creationId xmlns:a16="http://schemas.microsoft.com/office/drawing/2014/main" id="{75C0E8CA-4A7C-E30E-4289-3E33E5A59B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40" name="Rettangolo 2939">
              <a:extLst>
                <a:ext uri="{FF2B5EF4-FFF2-40B4-BE49-F238E27FC236}">
                  <a16:creationId xmlns:a16="http://schemas.microsoft.com/office/drawing/2014/main" id="{18CE5011-BFF2-89B9-4C04-16E47A428D87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41" name="Rettangolo 2940">
              <a:extLst>
                <a:ext uri="{FF2B5EF4-FFF2-40B4-BE49-F238E27FC236}">
                  <a16:creationId xmlns:a16="http://schemas.microsoft.com/office/drawing/2014/main" id="{1A0188C5-54EA-F90A-38B5-8C585DBD748E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617" name="Image 28">
            <a:extLst>
              <a:ext uri="{FF2B5EF4-FFF2-40B4-BE49-F238E27FC236}">
                <a16:creationId xmlns:a16="http://schemas.microsoft.com/office/drawing/2014/main" id="{0672C4A9-1EDB-C781-B504-1201FF50E4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5216" y="2902019"/>
            <a:ext cx="146381" cy="137700"/>
          </a:xfrm>
          <a:prstGeom prst="rect">
            <a:avLst/>
          </a:prstGeom>
        </p:spPr>
      </p:pic>
      <p:sp>
        <p:nvSpPr>
          <p:cNvPr id="2618" name="Oval 49">
            <a:extLst>
              <a:ext uri="{FF2B5EF4-FFF2-40B4-BE49-F238E27FC236}">
                <a16:creationId xmlns:a16="http://schemas.microsoft.com/office/drawing/2014/main" id="{57065FA6-0F39-688B-4CE5-604F5A039E9E}"/>
              </a:ext>
            </a:extLst>
          </p:cNvPr>
          <p:cNvSpPr/>
          <p:nvPr/>
        </p:nvSpPr>
        <p:spPr>
          <a:xfrm>
            <a:off x="2976776" y="2918519"/>
            <a:ext cx="142696" cy="141794"/>
          </a:xfrm>
          <a:prstGeom prst="ellipse">
            <a:avLst/>
          </a:prstGeom>
          <a:solidFill>
            <a:srgbClr val="F47575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5</a:t>
            </a:r>
          </a:p>
        </p:txBody>
      </p:sp>
      <p:sp>
        <p:nvSpPr>
          <p:cNvPr id="2619" name="CasellaDiTesto 2618">
            <a:extLst>
              <a:ext uri="{FF2B5EF4-FFF2-40B4-BE49-F238E27FC236}">
                <a16:creationId xmlns:a16="http://schemas.microsoft.com/office/drawing/2014/main" id="{34C4D8EE-3757-EBCA-63F2-A035AE8C579D}"/>
              </a:ext>
            </a:extLst>
          </p:cNvPr>
          <p:cNvSpPr txBox="1"/>
          <p:nvPr/>
        </p:nvSpPr>
        <p:spPr>
          <a:xfrm>
            <a:off x="4303840" y="2997724"/>
            <a:ext cx="27557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32</a:t>
            </a:r>
          </a:p>
        </p:txBody>
      </p:sp>
      <p:sp>
        <p:nvSpPr>
          <p:cNvPr id="2620" name="CasellaDiTesto 2619">
            <a:extLst>
              <a:ext uri="{FF2B5EF4-FFF2-40B4-BE49-F238E27FC236}">
                <a16:creationId xmlns:a16="http://schemas.microsoft.com/office/drawing/2014/main" id="{CBF89FDC-6DC3-7246-843D-D7624371704B}"/>
              </a:ext>
            </a:extLst>
          </p:cNvPr>
          <p:cNvSpPr txBox="1"/>
          <p:nvPr/>
        </p:nvSpPr>
        <p:spPr>
          <a:xfrm>
            <a:off x="4439468" y="3001599"/>
            <a:ext cx="52092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2.600 m²</a:t>
            </a:r>
          </a:p>
        </p:txBody>
      </p:sp>
      <p:sp>
        <p:nvSpPr>
          <p:cNvPr id="2621" name="Rounded Rectangle 17">
            <a:extLst>
              <a:ext uri="{FF2B5EF4-FFF2-40B4-BE49-F238E27FC236}">
                <a16:creationId xmlns:a16="http://schemas.microsoft.com/office/drawing/2014/main" id="{CC8244B2-C883-53C4-EAB7-FD0E8A7745E2}"/>
              </a:ext>
            </a:extLst>
          </p:cNvPr>
          <p:cNvSpPr>
            <a:spLocks/>
          </p:cNvSpPr>
          <p:nvPr/>
        </p:nvSpPr>
        <p:spPr>
          <a:xfrm>
            <a:off x="3061383" y="1356981"/>
            <a:ext cx="2494361" cy="271669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36830" rIns="37419" bIns="187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9047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 typeface="Arial"/>
              <a:buNone/>
              <a:tabLst>
                <a:tab pos="233870" algn="l"/>
                <a:tab pos="467739" algn="l"/>
                <a:tab pos="701609" algn="l"/>
                <a:tab pos="935479" algn="l"/>
              </a:tabLst>
              <a:defRPr/>
            </a:pPr>
            <a:r>
              <a:rPr kumimoji="0" lang="en-US" sz="563" b="1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LOMBARDIA:</a:t>
            </a:r>
            <a:endParaRPr kumimoji="0" lang="en-US" sz="675" b="1" i="0" u="none" strike="noStrike" kern="0" cap="none" spc="0" normalizeH="0" baseline="0" noProof="0" dirty="0">
              <a:ln>
                <a:noFill/>
              </a:ln>
              <a:solidFill>
                <a:srgbClr val="F47575"/>
              </a:solidFill>
              <a:effectLst/>
              <a:uLnTx/>
              <a:uFillTx/>
              <a:latin typeface="Century Gothic" panose="020F0302020204030204"/>
              <a:cs typeface="Times New Roman" panose="02020603050405020304" pitchFamily="18" charset="0"/>
              <a:sym typeface="Arial"/>
            </a:endParaRPr>
          </a:p>
          <a:p>
            <a:pPr marL="0" marR="0" lvl="0" indent="0" algn="l" defTabSz="49047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 typeface="Arial"/>
              <a:buNone/>
              <a:tabLst>
                <a:tab pos="233870" algn="l"/>
                <a:tab pos="467739" algn="l"/>
                <a:tab pos="701609" algn="l"/>
                <a:tab pos="935479" algn="l"/>
              </a:tabLst>
              <a:defRPr/>
            </a:pPr>
            <a:r>
              <a:rPr kumimoji="0" lang="en-US" sz="563" b="0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5 RSA, 461 </a:t>
            </a:r>
            <a:r>
              <a:rPr kumimoji="0" lang="en-US" sz="563" b="0" i="0" u="none" strike="noStrike" kern="0" cap="none" spc="0" normalizeH="0" baseline="0" noProof="0" dirty="0" err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posti</a:t>
            </a:r>
            <a:r>
              <a:rPr kumimoji="0" lang="en-US" sz="563" b="0" i="0" u="none" strike="noStrike" kern="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563" b="0" i="0" u="none" strike="noStrike" kern="0" cap="none" spc="0" normalizeH="0" baseline="0" noProof="0" dirty="0" err="1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letto</a:t>
            </a:r>
            <a:endParaRPr kumimoji="0" lang="en-US" sz="563" b="0" i="0" u="none" strike="noStrike" kern="0" cap="none" spc="0" normalizeH="0" baseline="0" noProof="0" dirty="0">
              <a:ln>
                <a:noFill/>
              </a:ln>
              <a:solidFill>
                <a:srgbClr val="F47575"/>
              </a:solidFill>
              <a:effectLst/>
              <a:uLnTx/>
              <a:uFillTx/>
              <a:latin typeface="Century Gothic" panose="020F0302020204030204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2622" name="TextBox 27">
            <a:extLst>
              <a:ext uri="{FF2B5EF4-FFF2-40B4-BE49-F238E27FC236}">
                <a16:creationId xmlns:a16="http://schemas.microsoft.com/office/drawing/2014/main" id="{E4820989-127D-98F5-C5B2-D8FB0984A0F8}"/>
              </a:ext>
            </a:extLst>
          </p:cNvPr>
          <p:cNvSpPr txBox="1"/>
          <p:nvPr/>
        </p:nvSpPr>
        <p:spPr>
          <a:xfrm>
            <a:off x="3053632" y="3694126"/>
            <a:ext cx="1842348" cy="241502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85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60769" anchor="ctr" anchorCtr="0">
            <a:noAutofit/>
          </a:bodyPr>
          <a:lstStyle>
            <a:defPPr>
              <a:defRPr lang="fr-FR"/>
            </a:defPPr>
            <a:lvl1pPr marL="7200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pPr marL="40511" marR="0" lvl="0" indent="0" algn="l" defTabSz="514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RSA L’Alba</a:t>
            </a:r>
            <a:b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</a:br>
            <a:r>
              <a:rPr kumimoji="0" lang="it-IT" sz="450" b="0" i="0" u="none" strike="noStrike" kern="0" cap="none" spc="0" normalizeH="0" baseline="0" noProof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Via S. Francesco D’Assisi 5</a:t>
            </a:r>
            <a:r>
              <a:rPr kumimoji="0" lang="fr-FR" sz="450" b="0" i="0" u="none" strike="noStrike" kern="0" cap="none" spc="0" normalizeH="0" baseline="0" noProof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, Varazze (SV)</a:t>
            </a:r>
          </a:p>
        </p:txBody>
      </p:sp>
      <p:grpSp>
        <p:nvGrpSpPr>
          <p:cNvPr id="2623" name="Gruppo 2622">
            <a:extLst>
              <a:ext uri="{FF2B5EF4-FFF2-40B4-BE49-F238E27FC236}">
                <a16:creationId xmlns:a16="http://schemas.microsoft.com/office/drawing/2014/main" id="{2BB98C3C-4BD5-A2F3-B243-4818167CAD05}"/>
              </a:ext>
            </a:extLst>
          </p:cNvPr>
          <p:cNvGrpSpPr>
            <a:grpSpLocks noChangeAspect="1"/>
          </p:cNvGrpSpPr>
          <p:nvPr/>
        </p:nvGrpSpPr>
        <p:grpSpPr>
          <a:xfrm>
            <a:off x="4537279" y="3698087"/>
            <a:ext cx="212032" cy="158279"/>
            <a:chOff x="7617796" y="1610157"/>
            <a:chExt cx="2253536" cy="1673784"/>
          </a:xfrm>
        </p:grpSpPr>
        <p:pic>
          <p:nvPicPr>
            <p:cNvPr id="2936" name="Image 64">
              <a:extLst>
                <a:ext uri="{FF2B5EF4-FFF2-40B4-BE49-F238E27FC236}">
                  <a16:creationId xmlns:a16="http://schemas.microsoft.com/office/drawing/2014/main" id="{78B175BD-8D31-470C-6C0B-E038EB7E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17796" y="1827789"/>
              <a:ext cx="2253536" cy="1456152"/>
            </a:xfrm>
            <a:prstGeom prst="rect">
              <a:avLst/>
            </a:prstGeom>
          </p:spPr>
        </p:pic>
        <p:sp>
          <p:nvSpPr>
            <p:cNvPr id="2937" name="Rettangolo 2936">
              <a:extLst>
                <a:ext uri="{FF2B5EF4-FFF2-40B4-BE49-F238E27FC236}">
                  <a16:creationId xmlns:a16="http://schemas.microsoft.com/office/drawing/2014/main" id="{DD014703-EAE9-E1A6-9C4D-0F2C84EA0EE7}"/>
                </a:ext>
              </a:extLst>
            </p:cNvPr>
            <p:cNvSpPr/>
            <p:nvPr/>
          </p:nvSpPr>
          <p:spPr>
            <a:xfrm>
              <a:off x="7829006" y="1633986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  <p:sp>
          <p:nvSpPr>
            <p:cNvPr id="2938" name="Rettangolo 2937">
              <a:extLst>
                <a:ext uri="{FF2B5EF4-FFF2-40B4-BE49-F238E27FC236}">
                  <a16:creationId xmlns:a16="http://schemas.microsoft.com/office/drawing/2014/main" id="{3E2ED60A-41CF-DF37-918A-1431D1ED6BC0}"/>
                </a:ext>
              </a:extLst>
            </p:cNvPr>
            <p:cNvSpPr/>
            <p:nvPr/>
          </p:nvSpPr>
          <p:spPr>
            <a:xfrm>
              <a:off x="8936744" y="1610157"/>
              <a:ext cx="534326" cy="3507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514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01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cs typeface="Arial"/>
                <a:sym typeface="Arial"/>
              </a:endParaRPr>
            </a:p>
          </p:txBody>
        </p:sp>
      </p:grpSp>
      <p:pic>
        <p:nvPicPr>
          <p:cNvPr id="2624" name="Image 28">
            <a:extLst>
              <a:ext uri="{FF2B5EF4-FFF2-40B4-BE49-F238E27FC236}">
                <a16:creationId xmlns:a16="http://schemas.microsoft.com/office/drawing/2014/main" id="{B06CEAEF-8815-4A49-0E8F-DABEE51A1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0724" y="3717060"/>
            <a:ext cx="146381" cy="137700"/>
          </a:xfrm>
          <a:prstGeom prst="rect">
            <a:avLst/>
          </a:prstGeom>
          <a:solidFill>
            <a:sysClr val="window" lastClr="FFFFFF"/>
          </a:solidFill>
        </p:spPr>
      </p:pic>
      <p:sp>
        <p:nvSpPr>
          <p:cNvPr id="2625" name="Oval 49">
            <a:extLst>
              <a:ext uri="{FF2B5EF4-FFF2-40B4-BE49-F238E27FC236}">
                <a16:creationId xmlns:a16="http://schemas.microsoft.com/office/drawing/2014/main" id="{0AEB6CE4-A206-411D-2559-A381DE9D74F4}"/>
              </a:ext>
            </a:extLst>
          </p:cNvPr>
          <p:cNvSpPr/>
          <p:nvPr/>
        </p:nvSpPr>
        <p:spPr>
          <a:xfrm>
            <a:off x="2982284" y="3733560"/>
            <a:ext cx="142696" cy="141794"/>
          </a:xfrm>
          <a:prstGeom prst="ellipse">
            <a:avLst/>
          </a:prstGeom>
          <a:solidFill>
            <a:srgbClr val="AC5D5B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en-US" sz="506" b="1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6</a:t>
            </a:r>
          </a:p>
        </p:txBody>
      </p:sp>
      <p:sp>
        <p:nvSpPr>
          <p:cNvPr id="2626" name="CasellaDiTesto 2625">
            <a:extLst>
              <a:ext uri="{FF2B5EF4-FFF2-40B4-BE49-F238E27FC236}">
                <a16:creationId xmlns:a16="http://schemas.microsoft.com/office/drawing/2014/main" id="{3F03646B-2EE2-755B-279E-9090F4057D59}"/>
              </a:ext>
            </a:extLst>
          </p:cNvPr>
          <p:cNvSpPr txBox="1"/>
          <p:nvPr/>
        </p:nvSpPr>
        <p:spPr>
          <a:xfrm>
            <a:off x="4295703" y="3828221"/>
            <a:ext cx="307962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100</a:t>
            </a:r>
          </a:p>
        </p:txBody>
      </p:sp>
      <p:sp>
        <p:nvSpPr>
          <p:cNvPr id="2627" name="CasellaDiTesto 2626">
            <a:extLst>
              <a:ext uri="{FF2B5EF4-FFF2-40B4-BE49-F238E27FC236}">
                <a16:creationId xmlns:a16="http://schemas.microsoft.com/office/drawing/2014/main" id="{B4D09369-CFBF-4983-BEE2-14868CE585D3}"/>
              </a:ext>
            </a:extLst>
          </p:cNvPr>
          <p:cNvSpPr txBox="1"/>
          <p:nvPr/>
        </p:nvSpPr>
        <p:spPr>
          <a:xfrm>
            <a:off x="4460319" y="3824678"/>
            <a:ext cx="391100" cy="15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394" b="1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/>
                <a:cs typeface="Arial"/>
                <a:sym typeface="Arial"/>
              </a:rPr>
              <a:t>4.200 m²</a:t>
            </a:r>
          </a:p>
        </p:txBody>
      </p:sp>
      <p:grpSp>
        <p:nvGrpSpPr>
          <p:cNvPr id="2628" name="Gruppo 2627">
            <a:extLst>
              <a:ext uri="{FF2B5EF4-FFF2-40B4-BE49-F238E27FC236}">
                <a16:creationId xmlns:a16="http://schemas.microsoft.com/office/drawing/2014/main" id="{A8855766-3757-2FFB-97F6-C80B3B40CB8D}"/>
              </a:ext>
            </a:extLst>
          </p:cNvPr>
          <p:cNvGrpSpPr/>
          <p:nvPr/>
        </p:nvGrpSpPr>
        <p:grpSpPr>
          <a:xfrm>
            <a:off x="4966919" y="1641961"/>
            <a:ext cx="2074188" cy="2392325"/>
            <a:chOff x="6012876" y="378691"/>
            <a:chExt cx="5603471" cy="6228483"/>
          </a:xfrm>
        </p:grpSpPr>
        <p:grpSp>
          <p:nvGrpSpPr>
            <p:cNvPr id="2664" name="Groupe 272">
              <a:extLst>
                <a:ext uri="{FF2B5EF4-FFF2-40B4-BE49-F238E27FC236}">
                  <a16:creationId xmlns:a16="http://schemas.microsoft.com/office/drawing/2014/main" id="{25E76A76-1CED-6A19-7CE0-1E18C590A14F}"/>
                </a:ext>
              </a:extLst>
            </p:cNvPr>
            <p:cNvGrpSpPr/>
            <p:nvPr/>
          </p:nvGrpSpPr>
          <p:grpSpPr>
            <a:xfrm>
              <a:off x="6012876" y="378691"/>
              <a:ext cx="5603471" cy="6228483"/>
              <a:chOff x="4837113" y="655638"/>
              <a:chExt cx="5027612" cy="5757862"/>
            </a:xfrm>
          </p:grpSpPr>
          <p:sp>
            <p:nvSpPr>
              <p:cNvPr id="2680" name="Freeform 5">
                <a:extLst>
                  <a:ext uri="{FF2B5EF4-FFF2-40B4-BE49-F238E27FC236}">
                    <a16:creationId xmlns:a16="http://schemas.microsoft.com/office/drawing/2014/main" id="{F52364D9-07EE-EE40-D654-51077A1EF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7113" y="1027113"/>
                <a:ext cx="1022350" cy="1338262"/>
              </a:xfrm>
              <a:custGeom>
                <a:avLst/>
                <a:gdLst>
                  <a:gd name="T0" fmla="*/ 502 w 644"/>
                  <a:gd name="T1" fmla="*/ 261 h 843"/>
                  <a:gd name="T2" fmla="*/ 508 w 644"/>
                  <a:gd name="T3" fmla="*/ 297 h 843"/>
                  <a:gd name="T4" fmla="*/ 530 w 644"/>
                  <a:gd name="T5" fmla="*/ 339 h 843"/>
                  <a:gd name="T6" fmla="*/ 542 w 644"/>
                  <a:gd name="T7" fmla="*/ 381 h 843"/>
                  <a:gd name="T8" fmla="*/ 515 w 644"/>
                  <a:gd name="T9" fmla="*/ 412 h 843"/>
                  <a:gd name="T10" fmla="*/ 476 w 644"/>
                  <a:gd name="T11" fmla="*/ 393 h 843"/>
                  <a:gd name="T12" fmla="*/ 473 w 644"/>
                  <a:gd name="T13" fmla="*/ 425 h 843"/>
                  <a:gd name="T14" fmla="*/ 478 w 644"/>
                  <a:gd name="T15" fmla="*/ 451 h 843"/>
                  <a:gd name="T16" fmla="*/ 500 w 644"/>
                  <a:gd name="T17" fmla="*/ 492 h 843"/>
                  <a:gd name="T18" fmla="*/ 532 w 644"/>
                  <a:gd name="T19" fmla="*/ 512 h 843"/>
                  <a:gd name="T20" fmla="*/ 566 w 644"/>
                  <a:gd name="T21" fmla="*/ 507 h 843"/>
                  <a:gd name="T22" fmla="*/ 599 w 644"/>
                  <a:gd name="T23" fmla="*/ 554 h 843"/>
                  <a:gd name="T24" fmla="*/ 631 w 644"/>
                  <a:gd name="T25" fmla="*/ 580 h 843"/>
                  <a:gd name="T26" fmla="*/ 643 w 644"/>
                  <a:gd name="T27" fmla="*/ 632 h 843"/>
                  <a:gd name="T28" fmla="*/ 617 w 644"/>
                  <a:gd name="T29" fmla="*/ 659 h 843"/>
                  <a:gd name="T30" fmla="*/ 582 w 644"/>
                  <a:gd name="T31" fmla="*/ 629 h 843"/>
                  <a:gd name="T32" fmla="*/ 568 w 644"/>
                  <a:gd name="T33" fmla="*/ 670 h 843"/>
                  <a:gd name="T34" fmla="*/ 539 w 644"/>
                  <a:gd name="T35" fmla="*/ 692 h 843"/>
                  <a:gd name="T36" fmla="*/ 517 w 644"/>
                  <a:gd name="T37" fmla="*/ 663 h 843"/>
                  <a:gd name="T38" fmla="*/ 486 w 644"/>
                  <a:gd name="T39" fmla="*/ 682 h 843"/>
                  <a:gd name="T40" fmla="*/ 449 w 644"/>
                  <a:gd name="T41" fmla="*/ 690 h 843"/>
                  <a:gd name="T42" fmla="*/ 413 w 644"/>
                  <a:gd name="T43" fmla="*/ 688 h 843"/>
                  <a:gd name="T44" fmla="*/ 393 w 644"/>
                  <a:gd name="T45" fmla="*/ 717 h 843"/>
                  <a:gd name="T46" fmla="*/ 364 w 644"/>
                  <a:gd name="T47" fmla="*/ 760 h 843"/>
                  <a:gd name="T48" fmla="*/ 357 w 644"/>
                  <a:gd name="T49" fmla="*/ 792 h 843"/>
                  <a:gd name="T50" fmla="*/ 331 w 644"/>
                  <a:gd name="T51" fmla="*/ 817 h 843"/>
                  <a:gd name="T52" fmla="*/ 303 w 644"/>
                  <a:gd name="T53" fmla="*/ 822 h 843"/>
                  <a:gd name="T54" fmla="*/ 270 w 644"/>
                  <a:gd name="T55" fmla="*/ 834 h 843"/>
                  <a:gd name="T56" fmla="*/ 257 w 644"/>
                  <a:gd name="T57" fmla="*/ 804 h 843"/>
                  <a:gd name="T58" fmla="*/ 212 w 644"/>
                  <a:gd name="T59" fmla="*/ 812 h 843"/>
                  <a:gd name="T60" fmla="*/ 166 w 644"/>
                  <a:gd name="T61" fmla="*/ 812 h 843"/>
                  <a:gd name="T62" fmla="*/ 122 w 644"/>
                  <a:gd name="T63" fmla="*/ 790 h 843"/>
                  <a:gd name="T64" fmla="*/ 75 w 644"/>
                  <a:gd name="T65" fmla="*/ 756 h 843"/>
                  <a:gd name="T66" fmla="*/ 58 w 644"/>
                  <a:gd name="T67" fmla="*/ 712 h 843"/>
                  <a:gd name="T68" fmla="*/ 49 w 644"/>
                  <a:gd name="T69" fmla="*/ 673 h 843"/>
                  <a:gd name="T70" fmla="*/ 78 w 644"/>
                  <a:gd name="T71" fmla="*/ 639 h 843"/>
                  <a:gd name="T72" fmla="*/ 105 w 644"/>
                  <a:gd name="T73" fmla="*/ 612 h 843"/>
                  <a:gd name="T74" fmla="*/ 92 w 644"/>
                  <a:gd name="T75" fmla="*/ 564 h 843"/>
                  <a:gd name="T76" fmla="*/ 39 w 644"/>
                  <a:gd name="T77" fmla="*/ 548 h 843"/>
                  <a:gd name="T78" fmla="*/ 29 w 644"/>
                  <a:gd name="T79" fmla="*/ 507 h 843"/>
                  <a:gd name="T80" fmla="*/ 0 w 644"/>
                  <a:gd name="T81" fmla="*/ 466 h 843"/>
                  <a:gd name="T82" fmla="*/ 52 w 644"/>
                  <a:gd name="T83" fmla="*/ 459 h 843"/>
                  <a:gd name="T84" fmla="*/ 86 w 644"/>
                  <a:gd name="T85" fmla="*/ 436 h 843"/>
                  <a:gd name="T86" fmla="*/ 127 w 644"/>
                  <a:gd name="T87" fmla="*/ 412 h 843"/>
                  <a:gd name="T88" fmla="*/ 136 w 644"/>
                  <a:gd name="T89" fmla="*/ 364 h 843"/>
                  <a:gd name="T90" fmla="*/ 131 w 644"/>
                  <a:gd name="T91" fmla="*/ 336 h 843"/>
                  <a:gd name="T92" fmla="*/ 175 w 644"/>
                  <a:gd name="T93" fmla="*/ 330 h 843"/>
                  <a:gd name="T94" fmla="*/ 228 w 644"/>
                  <a:gd name="T95" fmla="*/ 308 h 843"/>
                  <a:gd name="T96" fmla="*/ 280 w 644"/>
                  <a:gd name="T97" fmla="*/ 317 h 843"/>
                  <a:gd name="T98" fmla="*/ 325 w 644"/>
                  <a:gd name="T99" fmla="*/ 290 h 843"/>
                  <a:gd name="T100" fmla="*/ 314 w 644"/>
                  <a:gd name="T101" fmla="*/ 242 h 843"/>
                  <a:gd name="T102" fmla="*/ 314 w 644"/>
                  <a:gd name="T103" fmla="*/ 186 h 843"/>
                  <a:gd name="T104" fmla="*/ 354 w 644"/>
                  <a:gd name="T105" fmla="*/ 147 h 843"/>
                  <a:gd name="T106" fmla="*/ 382 w 644"/>
                  <a:gd name="T107" fmla="*/ 113 h 843"/>
                  <a:gd name="T108" fmla="*/ 365 w 644"/>
                  <a:gd name="T109" fmla="*/ 71 h 843"/>
                  <a:gd name="T110" fmla="*/ 411 w 644"/>
                  <a:gd name="T111" fmla="*/ 37 h 843"/>
                  <a:gd name="T112" fmla="*/ 452 w 644"/>
                  <a:gd name="T113" fmla="*/ 0 h 843"/>
                  <a:gd name="T114" fmla="*/ 459 w 644"/>
                  <a:gd name="T115" fmla="*/ 42 h 843"/>
                  <a:gd name="T116" fmla="*/ 471 w 644"/>
                  <a:gd name="T117" fmla="*/ 85 h 843"/>
                  <a:gd name="T118" fmla="*/ 505 w 644"/>
                  <a:gd name="T119" fmla="*/ 120 h 843"/>
                  <a:gd name="T120" fmla="*/ 522 w 644"/>
                  <a:gd name="T121" fmla="*/ 159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44" h="843">
                    <a:moveTo>
                      <a:pt x="491" y="224"/>
                    </a:moveTo>
                    <a:lnTo>
                      <a:pt x="488" y="229"/>
                    </a:lnTo>
                    <a:lnTo>
                      <a:pt x="485" y="230"/>
                    </a:lnTo>
                    <a:lnTo>
                      <a:pt x="481" y="234"/>
                    </a:lnTo>
                    <a:lnTo>
                      <a:pt x="479" y="237"/>
                    </a:lnTo>
                    <a:lnTo>
                      <a:pt x="481" y="242"/>
                    </a:lnTo>
                    <a:lnTo>
                      <a:pt x="485" y="246"/>
                    </a:lnTo>
                    <a:lnTo>
                      <a:pt x="486" y="251"/>
                    </a:lnTo>
                    <a:lnTo>
                      <a:pt x="490" y="254"/>
                    </a:lnTo>
                    <a:lnTo>
                      <a:pt x="490" y="258"/>
                    </a:lnTo>
                    <a:lnTo>
                      <a:pt x="498" y="259"/>
                    </a:lnTo>
                    <a:lnTo>
                      <a:pt x="502" y="261"/>
                    </a:lnTo>
                    <a:lnTo>
                      <a:pt x="505" y="264"/>
                    </a:lnTo>
                    <a:lnTo>
                      <a:pt x="503" y="271"/>
                    </a:lnTo>
                    <a:lnTo>
                      <a:pt x="502" y="274"/>
                    </a:lnTo>
                    <a:lnTo>
                      <a:pt x="505" y="278"/>
                    </a:lnTo>
                    <a:lnTo>
                      <a:pt x="510" y="278"/>
                    </a:lnTo>
                    <a:lnTo>
                      <a:pt x="510" y="281"/>
                    </a:lnTo>
                    <a:lnTo>
                      <a:pt x="512" y="286"/>
                    </a:lnTo>
                    <a:lnTo>
                      <a:pt x="513" y="290"/>
                    </a:lnTo>
                    <a:lnTo>
                      <a:pt x="510" y="291"/>
                    </a:lnTo>
                    <a:lnTo>
                      <a:pt x="507" y="290"/>
                    </a:lnTo>
                    <a:lnTo>
                      <a:pt x="508" y="293"/>
                    </a:lnTo>
                    <a:lnTo>
                      <a:pt x="508" y="297"/>
                    </a:lnTo>
                    <a:lnTo>
                      <a:pt x="512" y="297"/>
                    </a:lnTo>
                    <a:lnTo>
                      <a:pt x="515" y="300"/>
                    </a:lnTo>
                    <a:lnTo>
                      <a:pt x="517" y="305"/>
                    </a:lnTo>
                    <a:lnTo>
                      <a:pt x="517" y="308"/>
                    </a:lnTo>
                    <a:lnTo>
                      <a:pt x="515" y="312"/>
                    </a:lnTo>
                    <a:lnTo>
                      <a:pt x="519" y="319"/>
                    </a:lnTo>
                    <a:lnTo>
                      <a:pt x="519" y="322"/>
                    </a:lnTo>
                    <a:lnTo>
                      <a:pt x="522" y="329"/>
                    </a:lnTo>
                    <a:lnTo>
                      <a:pt x="520" y="332"/>
                    </a:lnTo>
                    <a:lnTo>
                      <a:pt x="522" y="337"/>
                    </a:lnTo>
                    <a:lnTo>
                      <a:pt x="527" y="341"/>
                    </a:lnTo>
                    <a:lnTo>
                      <a:pt x="530" y="339"/>
                    </a:lnTo>
                    <a:lnTo>
                      <a:pt x="534" y="344"/>
                    </a:lnTo>
                    <a:lnTo>
                      <a:pt x="537" y="344"/>
                    </a:lnTo>
                    <a:lnTo>
                      <a:pt x="539" y="351"/>
                    </a:lnTo>
                    <a:lnTo>
                      <a:pt x="541" y="354"/>
                    </a:lnTo>
                    <a:lnTo>
                      <a:pt x="544" y="358"/>
                    </a:lnTo>
                    <a:lnTo>
                      <a:pt x="544" y="361"/>
                    </a:lnTo>
                    <a:lnTo>
                      <a:pt x="547" y="361"/>
                    </a:lnTo>
                    <a:lnTo>
                      <a:pt x="547" y="368"/>
                    </a:lnTo>
                    <a:lnTo>
                      <a:pt x="551" y="373"/>
                    </a:lnTo>
                    <a:lnTo>
                      <a:pt x="549" y="378"/>
                    </a:lnTo>
                    <a:lnTo>
                      <a:pt x="544" y="378"/>
                    </a:lnTo>
                    <a:lnTo>
                      <a:pt x="542" y="381"/>
                    </a:lnTo>
                    <a:lnTo>
                      <a:pt x="536" y="380"/>
                    </a:lnTo>
                    <a:lnTo>
                      <a:pt x="532" y="381"/>
                    </a:lnTo>
                    <a:lnTo>
                      <a:pt x="529" y="383"/>
                    </a:lnTo>
                    <a:lnTo>
                      <a:pt x="524" y="383"/>
                    </a:lnTo>
                    <a:lnTo>
                      <a:pt x="527" y="388"/>
                    </a:lnTo>
                    <a:lnTo>
                      <a:pt x="530" y="390"/>
                    </a:lnTo>
                    <a:lnTo>
                      <a:pt x="530" y="393"/>
                    </a:lnTo>
                    <a:lnTo>
                      <a:pt x="527" y="398"/>
                    </a:lnTo>
                    <a:lnTo>
                      <a:pt x="522" y="397"/>
                    </a:lnTo>
                    <a:lnTo>
                      <a:pt x="522" y="402"/>
                    </a:lnTo>
                    <a:lnTo>
                      <a:pt x="520" y="407"/>
                    </a:lnTo>
                    <a:lnTo>
                      <a:pt x="515" y="412"/>
                    </a:lnTo>
                    <a:lnTo>
                      <a:pt x="512" y="412"/>
                    </a:lnTo>
                    <a:lnTo>
                      <a:pt x="508" y="412"/>
                    </a:lnTo>
                    <a:lnTo>
                      <a:pt x="507" y="408"/>
                    </a:lnTo>
                    <a:lnTo>
                      <a:pt x="507" y="402"/>
                    </a:lnTo>
                    <a:lnTo>
                      <a:pt x="500" y="395"/>
                    </a:lnTo>
                    <a:lnTo>
                      <a:pt x="498" y="391"/>
                    </a:lnTo>
                    <a:lnTo>
                      <a:pt x="495" y="391"/>
                    </a:lnTo>
                    <a:lnTo>
                      <a:pt x="491" y="391"/>
                    </a:lnTo>
                    <a:lnTo>
                      <a:pt x="488" y="391"/>
                    </a:lnTo>
                    <a:lnTo>
                      <a:pt x="483" y="391"/>
                    </a:lnTo>
                    <a:lnTo>
                      <a:pt x="479" y="388"/>
                    </a:lnTo>
                    <a:lnTo>
                      <a:pt x="476" y="393"/>
                    </a:lnTo>
                    <a:lnTo>
                      <a:pt x="474" y="397"/>
                    </a:lnTo>
                    <a:lnTo>
                      <a:pt x="476" y="402"/>
                    </a:lnTo>
                    <a:lnTo>
                      <a:pt x="473" y="405"/>
                    </a:lnTo>
                    <a:lnTo>
                      <a:pt x="469" y="407"/>
                    </a:lnTo>
                    <a:lnTo>
                      <a:pt x="466" y="410"/>
                    </a:lnTo>
                    <a:lnTo>
                      <a:pt x="471" y="414"/>
                    </a:lnTo>
                    <a:lnTo>
                      <a:pt x="469" y="419"/>
                    </a:lnTo>
                    <a:lnTo>
                      <a:pt x="474" y="417"/>
                    </a:lnTo>
                    <a:lnTo>
                      <a:pt x="474" y="420"/>
                    </a:lnTo>
                    <a:lnTo>
                      <a:pt x="474" y="424"/>
                    </a:lnTo>
                    <a:lnTo>
                      <a:pt x="476" y="427"/>
                    </a:lnTo>
                    <a:lnTo>
                      <a:pt x="473" y="425"/>
                    </a:lnTo>
                    <a:lnTo>
                      <a:pt x="476" y="429"/>
                    </a:lnTo>
                    <a:lnTo>
                      <a:pt x="479" y="429"/>
                    </a:lnTo>
                    <a:lnTo>
                      <a:pt x="473" y="431"/>
                    </a:lnTo>
                    <a:lnTo>
                      <a:pt x="478" y="432"/>
                    </a:lnTo>
                    <a:lnTo>
                      <a:pt x="474" y="434"/>
                    </a:lnTo>
                    <a:lnTo>
                      <a:pt x="473" y="437"/>
                    </a:lnTo>
                    <a:lnTo>
                      <a:pt x="478" y="441"/>
                    </a:lnTo>
                    <a:lnTo>
                      <a:pt x="473" y="444"/>
                    </a:lnTo>
                    <a:lnTo>
                      <a:pt x="478" y="446"/>
                    </a:lnTo>
                    <a:lnTo>
                      <a:pt x="479" y="442"/>
                    </a:lnTo>
                    <a:lnTo>
                      <a:pt x="485" y="442"/>
                    </a:lnTo>
                    <a:lnTo>
                      <a:pt x="478" y="451"/>
                    </a:lnTo>
                    <a:lnTo>
                      <a:pt x="476" y="454"/>
                    </a:lnTo>
                    <a:lnTo>
                      <a:pt x="479" y="458"/>
                    </a:lnTo>
                    <a:lnTo>
                      <a:pt x="486" y="461"/>
                    </a:lnTo>
                    <a:lnTo>
                      <a:pt x="488" y="464"/>
                    </a:lnTo>
                    <a:lnTo>
                      <a:pt x="490" y="468"/>
                    </a:lnTo>
                    <a:lnTo>
                      <a:pt x="493" y="470"/>
                    </a:lnTo>
                    <a:lnTo>
                      <a:pt x="493" y="473"/>
                    </a:lnTo>
                    <a:lnTo>
                      <a:pt x="493" y="476"/>
                    </a:lnTo>
                    <a:lnTo>
                      <a:pt x="496" y="480"/>
                    </a:lnTo>
                    <a:lnTo>
                      <a:pt x="498" y="483"/>
                    </a:lnTo>
                    <a:lnTo>
                      <a:pt x="502" y="488"/>
                    </a:lnTo>
                    <a:lnTo>
                      <a:pt x="500" y="492"/>
                    </a:lnTo>
                    <a:lnTo>
                      <a:pt x="503" y="495"/>
                    </a:lnTo>
                    <a:lnTo>
                      <a:pt x="500" y="498"/>
                    </a:lnTo>
                    <a:lnTo>
                      <a:pt x="503" y="502"/>
                    </a:lnTo>
                    <a:lnTo>
                      <a:pt x="505" y="505"/>
                    </a:lnTo>
                    <a:lnTo>
                      <a:pt x="508" y="505"/>
                    </a:lnTo>
                    <a:lnTo>
                      <a:pt x="512" y="505"/>
                    </a:lnTo>
                    <a:lnTo>
                      <a:pt x="517" y="505"/>
                    </a:lnTo>
                    <a:lnTo>
                      <a:pt x="517" y="502"/>
                    </a:lnTo>
                    <a:lnTo>
                      <a:pt x="522" y="507"/>
                    </a:lnTo>
                    <a:lnTo>
                      <a:pt x="527" y="507"/>
                    </a:lnTo>
                    <a:lnTo>
                      <a:pt x="529" y="510"/>
                    </a:lnTo>
                    <a:lnTo>
                      <a:pt x="532" y="512"/>
                    </a:lnTo>
                    <a:lnTo>
                      <a:pt x="536" y="507"/>
                    </a:lnTo>
                    <a:lnTo>
                      <a:pt x="539" y="507"/>
                    </a:lnTo>
                    <a:lnTo>
                      <a:pt x="541" y="503"/>
                    </a:lnTo>
                    <a:lnTo>
                      <a:pt x="544" y="502"/>
                    </a:lnTo>
                    <a:lnTo>
                      <a:pt x="549" y="500"/>
                    </a:lnTo>
                    <a:lnTo>
                      <a:pt x="553" y="497"/>
                    </a:lnTo>
                    <a:lnTo>
                      <a:pt x="556" y="497"/>
                    </a:lnTo>
                    <a:lnTo>
                      <a:pt x="561" y="493"/>
                    </a:lnTo>
                    <a:lnTo>
                      <a:pt x="564" y="497"/>
                    </a:lnTo>
                    <a:lnTo>
                      <a:pt x="564" y="500"/>
                    </a:lnTo>
                    <a:lnTo>
                      <a:pt x="568" y="503"/>
                    </a:lnTo>
                    <a:lnTo>
                      <a:pt x="566" y="507"/>
                    </a:lnTo>
                    <a:lnTo>
                      <a:pt x="566" y="512"/>
                    </a:lnTo>
                    <a:lnTo>
                      <a:pt x="568" y="515"/>
                    </a:lnTo>
                    <a:lnTo>
                      <a:pt x="571" y="520"/>
                    </a:lnTo>
                    <a:lnTo>
                      <a:pt x="576" y="520"/>
                    </a:lnTo>
                    <a:lnTo>
                      <a:pt x="582" y="519"/>
                    </a:lnTo>
                    <a:lnTo>
                      <a:pt x="583" y="524"/>
                    </a:lnTo>
                    <a:lnTo>
                      <a:pt x="585" y="527"/>
                    </a:lnTo>
                    <a:lnTo>
                      <a:pt x="583" y="534"/>
                    </a:lnTo>
                    <a:lnTo>
                      <a:pt x="587" y="539"/>
                    </a:lnTo>
                    <a:lnTo>
                      <a:pt x="592" y="548"/>
                    </a:lnTo>
                    <a:lnTo>
                      <a:pt x="595" y="549"/>
                    </a:lnTo>
                    <a:lnTo>
                      <a:pt x="599" y="554"/>
                    </a:lnTo>
                    <a:lnTo>
                      <a:pt x="602" y="554"/>
                    </a:lnTo>
                    <a:lnTo>
                      <a:pt x="605" y="556"/>
                    </a:lnTo>
                    <a:lnTo>
                      <a:pt x="607" y="561"/>
                    </a:lnTo>
                    <a:lnTo>
                      <a:pt x="605" y="568"/>
                    </a:lnTo>
                    <a:lnTo>
                      <a:pt x="605" y="571"/>
                    </a:lnTo>
                    <a:lnTo>
                      <a:pt x="609" y="575"/>
                    </a:lnTo>
                    <a:lnTo>
                      <a:pt x="609" y="580"/>
                    </a:lnTo>
                    <a:lnTo>
                      <a:pt x="614" y="578"/>
                    </a:lnTo>
                    <a:lnTo>
                      <a:pt x="617" y="580"/>
                    </a:lnTo>
                    <a:lnTo>
                      <a:pt x="621" y="581"/>
                    </a:lnTo>
                    <a:lnTo>
                      <a:pt x="627" y="581"/>
                    </a:lnTo>
                    <a:lnTo>
                      <a:pt x="631" y="580"/>
                    </a:lnTo>
                    <a:lnTo>
                      <a:pt x="631" y="583"/>
                    </a:lnTo>
                    <a:lnTo>
                      <a:pt x="634" y="590"/>
                    </a:lnTo>
                    <a:lnTo>
                      <a:pt x="634" y="595"/>
                    </a:lnTo>
                    <a:lnTo>
                      <a:pt x="638" y="598"/>
                    </a:lnTo>
                    <a:lnTo>
                      <a:pt x="644" y="602"/>
                    </a:lnTo>
                    <a:lnTo>
                      <a:pt x="644" y="605"/>
                    </a:lnTo>
                    <a:lnTo>
                      <a:pt x="643" y="610"/>
                    </a:lnTo>
                    <a:lnTo>
                      <a:pt x="643" y="614"/>
                    </a:lnTo>
                    <a:lnTo>
                      <a:pt x="643" y="619"/>
                    </a:lnTo>
                    <a:lnTo>
                      <a:pt x="643" y="624"/>
                    </a:lnTo>
                    <a:lnTo>
                      <a:pt x="641" y="627"/>
                    </a:lnTo>
                    <a:lnTo>
                      <a:pt x="643" y="632"/>
                    </a:lnTo>
                    <a:lnTo>
                      <a:pt x="643" y="636"/>
                    </a:lnTo>
                    <a:lnTo>
                      <a:pt x="641" y="639"/>
                    </a:lnTo>
                    <a:lnTo>
                      <a:pt x="641" y="642"/>
                    </a:lnTo>
                    <a:lnTo>
                      <a:pt x="641" y="649"/>
                    </a:lnTo>
                    <a:lnTo>
                      <a:pt x="643" y="653"/>
                    </a:lnTo>
                    <a:lnTo>
                      <a:pt x="643" y="656"/>
                    </a:lnTo>
                    <a:lnTo>
                      <a:pt x="638" y="658"/>
                    </a:lnTo>
                    <a:lnTo>
                      <a:pt x="634" y="659"/>
                    </a:lnTo>
                    <a:lnTo>
                      <a:pt x="629" y="665"/>
                    </a:lnTo>
                    <a:lnTo>
                      <a:pt x="626" y="665"/>
                    </a:lnTo>
                    <a:lnTo>
                      <a:pt x="619" y="663"/>
                    </a:lnTo>
                    <a:lnTo>
                      <a:pt x="617" y="659"/>
                    </a:lnTo>
                    <a:lnTo>
                      <a:pt x="617" y="654"/>
                    </a:lnTo>
                    <a:lnTo>
                      <a:pt x="614" y="651"/>
                    </a:lnTo>
                    <a:lnTo>
                      <a:pt x="610" y="648"/>
                    </a:lnTo>
                    <a:lnTo>
                      <a:pt x="605" y="648"/>
                    </a:lnTo>
                    <a:lnTo>
                      <a:pt x="602" y="648"/>
                    </a:lnTo>
                    <a:lnTo>
                      <a:pt x="600" y="641"/>
                    </a:lnTo>
                    <a:lnTo>
                      <a:pt x="597" y="637"/>
                    </a:lnTo>
                    <a:lnTo>
                      <a:pt x="597" y="634"/>
                    </a:lnTo>
                    <a:lnTo>
                      <a:pt x="592" y="632"/>
                    </a:lnTo>
                    <a:lnTo>
                      <a:pt x="588" y="634"/>
                    </a:lnTo>
                    <a:lnTo>
                      <a:pt x="585" y="632"/>
                    </a:lnTo>
                    <a:lnTo>
                      <a:pt x="582" y="629"/>
                    </a:lnTo>
                    <a:lnTo>
                      <a:pt x="578" y="629"/>
                    </a:lnTo>
                    <a:lnTo>
                      <a:pt x="575" y="629"/>
                    </a:lnTo>
                    <a:lnTo>
                      <a:pt x="571" y="634"/>
                    </a:lnTo>
                    <a:lnTo>
                      <a:pt x="568" y="639"/>
                    </a:lnTo>
                    <a:lnTo>
                      <a:pt x="564" y="641"/>
                    </a:lnTo>
                    <a:lnTo>
                      <a:pt x="563" y="644"/>
                    </a:lnTo>
                    <a:lnTo>
                      <a:pt x="566" y="648"/>
                    </a:lnTo>
                    <a:lnTo>
                      <a:pt x="568" y="651"/>
                    </a:lnTo>
                    <a:lnTo>
                      <a:pt x="568" y="656"/>
                    </a:lnTo>
                    <a:lnTo>
                      <a:pt x="568" y="663"/>
                    </a:lnTo>
                    <a:lnTo>
                      <a:pt x="571" y="666"/>
                    </a:lnTo>
                    <a:lnTo>
                      <a:pt x="568" y="670"/>
                    </a:lnTo>
                    <a:lnTo>
                      <a:pt x="564" y="671"/>
                    </a:lnTo>
                    <a:lnTo>
                      <a:pt x="561" y="671"/>
                    </a:lnTo>
                    <a:lnTo>
                      <a:pt x="558" y="668"/>
                    </a:lnTo>
                    <a:lnTo>
                      <a:pt x="554" y="670"/>
                    </a:lnTo>
                    <a:lnTo>
                      <a:pt x="551" y="670"/>
                    </a:lnTo>
                    <a:lnTo>
                      <a:pt x="547" y="670"/>
                    </a:lnTo>
                    <a:lnTo>
                      <a:pt x="547" y="673"/>
                    </a:lnTo>
                    <a:lnTo>
                      <a:pt x="546" y="676"/>
                    </a:lnTo>
                    <a:lnTo>
                      <a:pt x="542" y="678"/>
                    </a:lnTo>
                    <a:lnTo>
                      <a:pt x="539" y="683"/>
                    </a:lnTo>
                    <a:lnTo>
                      <a:pt x="541" y="687"/>
                    </a:lnTo>
                    <a:lnTo>
                      <a:pt x="539" y="692"/>
                    </a:lnTo>
                    <a:lnTo>
                      <a:pt x="537" y="695"/>
                    </a:lnTo>
                    <a:lnTo>
                      <a:pt x="534" y="693"/>
                    </a:lnTo>
                    <a:lnTo>
                      <a:pt x="534" y="690"/>
                    </a:lnTo>
                    <a:lnTo>
                      <a:pt x="532" y="685"/>
                    </a:lnTo>
                    <a:lnTo>
                      <a:pt x="532" y="682"/>
                    </a:lnTo>
                    <a:lnTo>
                      <a:pt x="529" y="682"/>
                    </a:lnTo>
                    <a:lnTo>
                      <a:pt x="530" y="678"/>
                    </a:lnTo>
                    <a:lnTo>
                      <a:pt x="527" y="673"/>
                    </a:lnTo>
                    <a:lnTo>
                      <a:pt x="525" y="670"/>
                    </a:lnTo>
                    <a:lnTo>
                      <a:pt x="524" y="666"/>
                    </a:lnTo>
                    <a:lnTo>
                      <a:pt x="520" y="663"/>
                    </a:lnTo>
                    <a:lnTo>
                      <a:pt x="517" y="663"/>
                    </a:lnTo>
                    <a:lnTo>
                      <a:pt x="513" y="661"/>
                    </a:lnTo>
                    <a:lnTo>
                      <a:pt x="507" y="661"/>
                    </a:lnTo>
                    <a:lnTo>
                      <a:pt x="503" y="663"/>
                    </a:lnTo>
                    <a:lnTo>
                      <a:pt x="500" y="663"/>
                    </a:lnTo>
                    <a:lnTo>
                      <a:pt x="496" y="661"/>
                    </a:lnTo>
                    <a:lnTo>
                      <a:pt x="495" y="666"/>
                    </a:lnTo>
                    <a:lnTo>
                      <a:pt x="490" y="666"/>
                    </a:lnTo>
                    <a:lnTo>
                      <a:pt x="490" y="670"/>
                    </a:lnTo>
                    <a:lnTo>
                      <a:pt x="493" y="673"/>
                    </a:lnTo>
                    <a:lnTo>
                      <a:pt x="491" y="676"/>
                    </a:lnTo>
                    <a:lnTo>
                      <a:pt x="488" y="678"/>
                    </a:lnTo>
                    <a:lnTo>
                      <a:pt x="486" y="682"/>
                    </a:lnTo>
                    <a:lnTo>
                      <a:pt x="483" y="682"/>
                    </a:lnTo>
                    <a:lnTo>
                      <a:pt x="483" y="687"/>
                    </a:lnTo>
                    <a:lnTo>
                      <a:pt x="479" y="690"/>
                    </a:lnTo>
                    <a:lnTo>
                      <a:pt x="476" y="687"/>
                    </a:lnTo>
                    <a:lnTo>
                      <a:pt x="473" y="687"/>
                    </a:lnTo>
                    <a:lnTo>
                      <a:pt x="469" y="687"/>
                    </a:lnTo>
                    <a:lnTo>
                      <a:pt x="466" y="687"/>
                    </a:lnTo>
                    <a:lnTo>
                      <a:pt x="461" y="687"/>
                    </a:lnTo>
                    <a:lnTo>
                      <a:pt x="457" y="683"/>
                    </a:lnTo>
                    <a:lnTo>
                      <a:pt x="452" y="687"/>
                    </a:lnTo>
                    <a:lnTo>
                      <a:pt x="452" y="692"/>
                    </a:lnTo>
                    <a:lnTo>
                      <a:pt x="449" y="690"/>
                    </a:lnTo>
                    <a:lnTo>
                      <a:pt x="445" y="685"/>
                    </a:lnTo>
                    <a:lnTo>
                      <a:pt x="440" y="687"/>
                    </a:lnTo>
                    <a:lnTo>
                      <a:pt x="440" y="690"/>
                    </a:lnTo>
                    <a:lnTo>
                      <a:pt x="437" y="693"/>
                    </a:lnTo>
                    <a:lnTo>
                      <a:pt x="437" y="698"/>
                    </a:lnTo>
                    <a:lnTo>
                      <a:pt x="434" y="698"/>
                    </a:lnTo>
                    <a:lnTo>
                      <a:pt x="430" y="702"/>
                    </a:lnTo>
                    <a:lnTo>
                      <a:pt x="427" y="695"/>
                    </a:lnTo>
                    <a:lnTo>
                      <a:pt x="423" y="693"/>
                    </a:lnTo>
                    <a:lnTo>
                      <a:pt x="420" y="693"/>
                    </a:lnTo>
                    <a:lnTo>
                      <a:pt x="416" y="690"/>
                    </a:lnTo>
                    <a:lnTo>
                      <a:pt x="413" y="688"/>
                    </a:lnTo>
                    <a:lnTo>
                      <a:pt x="408" y="687"/>
                    </a:lnTo>
                    <a:lnTo>
                      <a:pt x="405" y="683"/>
                    </a:lnTo>
                    <a:lnTo>
                      <a:pt x="401" y="682"/>
                    </a:lnTo>
                    <a:lnTo>
                      <a:pt x="396" y="683"/>
                    </a:lnTo>
                    <a:lnTo>
                      <a:pt x="393" y="690"/>
                    </a:lnTo>
                    <a:lnTo>
                      <a:pt x="394" y="693"/>
                    </a:lnTo>
                    <a:lnTo>
                      <a:pt x="391" y="697"/>
                    </a:lnTo>
                    <a:lnTo>
                      <a:pt x="388" y="700"/>
                    </a:lnTo>
                    <a:lnTo>
                      <a:pt x="391" y="705"/>
                    </a:lnTo>
                    <a:lnTo>
                      <a:pt x="391" y="709"/>
                    </a:lnTo>
                    <a:lnTo>
                      <a:pt x="394" y="714"/>
                    </a:lnTo>
                    <a:lnTo>
                      <a:pt x="393" y="717"/>
                    </a:lnTo>
                    <a:lnTo>
                      <a:pt x="391" y="721"/>
                    </a:lnTo>
                    <a:lnTo>
                      <a:pt x="386" y="726"/>
                    </a:lnTo>
                    <a:lnTo>
                      <a:pt x="381" y="727"/>
                    </a:lnTo>
                    <a:lnTo>
                      <a:pt x="376" y="731"/>
                    </a:lnTo>
                    <a:lnTo>
                      <a:pt x="374" y="736"/>
                    </a:lnTo>
                    <a:lnTo>
                      <a:pt x="376" y="741"/>
                    </a:lnTo>
                    <a:lnTo>
                      <a:pt x="374" y="744"/>
                    </a:lnTo>
                    <a:lnTo>
                      <a:pt x="372" y="748"/>
                    </a:lnTo>
                    <a:lnTo>
                      <a:pt x="367" y="748"/>
                    </a:lnTo>
                    <a:lnTo>
                      <a:pt x="365" y="751"/>
                    </a:lnTo>
                    <a:lnTo>
                      <a:pt x="365" y="754"/>
                    </a:lnTo>
                    <a:lnTo>
                      <a:pt x="364" y="760"/>
                    </a:lnTo>
                    <a:lnTo>
                      <a:pt x="360" y="758"/>
                    </a:lnTo>
                    <a:lnTo>
                      <a:pt x="355" y="754"/>
                    </a:lnTo>
                    <a:lnTo>
                      <a:pt x="354" y="760"/>
                    </a:lnTo>
                    <a:lnTo>
                      <a:pt x="354" y="765"/>
                    </a:lnTo>
                    <a:lnTo>
                      <a:pt x="357" y="765"/>
                    </a:lnTo>
                    <a:lnTo>
                      <a:pt x="359" y="768"/>
                    </a:lnTo>
                    <a:lnTo>
                      <a:pt x="360" y="771"/>
                    </a:lnTo>
                    <a:lnTo>
                      <a:pt x="357" y="775"/>
                    </a:lnTo>
                    <a:lnTo>
                      <a:pt x="355" y="778"/>
                    </a:lnTo>
                    <a:lnTo>
                      <a:pt x="357" y="783"/>
                    </a:lnTo>
                    <a:lnTo>
                      <a:pt x="354" y="787"/>
                    </a:lnTo>
                    <a:lnTo>
                      <a:pt x="357" y="792"/>
                    </a:lnTo>
                    <a:lnTo>
                      <a:pt x="360" y="793"/>
                    </a:lnTo>
                    <a:lnTo>
                      <a:pt x="360" y="797"/>
                    </a:lnTo>
                    <a:lnTo>
                      <a:pt x="360" y="802"/>
                    </a:lnTo>
                    <a:lnTo>
                      <a:pt x="359" y="805"/>
                    </a:lnTo>
                    <a:lnTo>
                      <a:pt x="357" y="809"/>
                    </a:lnTo>
                    <a:lnTo>
                      <a:pt x="355" y="812"/>
                    </a:lnTo>
                    <a:lnTo>
                      <a:pt x="350" y="815"/>
                    </a:lnTo>
                    <a:lnTo>
                      <a:pt x="347" y="814"/>
                    </a:lnTo>
                    <a:lnTo>
                      <a:pt x="342" y="810"/>
                    </a:lnTo>
                    <a:lnTo>
                      <a:pt x="338" y="810"/>
                    </a:lnTo>
                    <a:lnTo>
                      <a:pt x="335" y="814"/>
                    </a:lnTo>
                    <a:lnTo>
                      <a:pt x="331" y="817"/>
                    </a:lnTo>
                    <a:lnTo>
                      <a:pt x="335" y="821"/>
                    </a:lnTo>
                    <a:lnTo>
                      <a:pt x="338" y="821"/>
                    </a:lnTo>
                    <a:lnTo>
                      <a:pt x="338" y="824"/>
                    </a:lnTo>
                    <a:lnTo>
                      <a:pt x="340" y="829"/>
                    </a:lnTo>
                    <a:lnTo>
                      <a:pt x="335" y="826"/>
                    </a:lnTo>
                    <a:lnTo>
                      <a:pt x="330" y="826"/>
                    </a:lnTo>
                    <a:lnTo>
                      <a:pt x="326" y="829"/>
                    </a:lnTo>
                    <a:lnTo>
                      <a:pt x="323" y="829"/>
                    </a:lnTo>
                    <a:lnTo>
                      <a:pt x="318" y="826"/>
                    </a:lnTo>
                    <a:lnTo>
                      <a:pt x="313" y="826"/>
                    </a:lnTo>
                    <a:lnTo>
                      <a:pt x="309" y="827"/>
                    </a:lnTo>
                    <a:lnTo>
                      <a:pt x="303" y="822"/>
                    </a:lnTo>
                    <a:lnTo>
                      <a:pt x="299" y="822"/>
                    </a:lnTo>
                    <a:lnTo>
                      <a:pt x="294" y="822"/>
                    </a:lnTo>
                    <a:lnTo>
                      <a:pt x="291" y="821"/>
                    </a:lnTo>
                    <a:lnTo>
                      <a:pt x="285" y="819"/>
                    </a:lnTo>
                    <a:lnTo>
                      <a:pt x="280" y="815"/>
                    </a:lnTo>
                    <a:lnTo>
                      <a:pt x="275" y="815"/>
                    </a:lnTo>
                    <a:lnTo>
                      <a:pt x="272" y="815"/>
                    </a:lnTo>
                    <a:lnTo>
                      <a:pt x="268" y="819"/>
                    </a:lnTo>
                    <a:lnTo>
                      <a:pt x="267" y="822"/>
                    </a:lnTo>
                    <a:lnTo>
                      <a:pt x="265" y="827"/>
                    </a:lnTo>
                    <a:lnTo>
                      <a:pt x="267" y="831"/>
                    </a:lnTo>
                    <a:lnTo>
                      <a:pt x="270" y="834"/>
                    </a:lnTo>
                    <a:lnTo>
                      <a:pt x="274" y="834"/>
                    </a:lnTo>
                    <a:lnTo>
                      <a:pt x="270" y="836"/>
                    </a:lnTo>
                    <a:lnTo>
                      <a:pt x="268" y="839"/>
                    </a:lnTo>
                    <a:lnTo>
                      <a:pt x="265" y="843"/>
                    </a:lnTo>
                    <a:lnTo>
                      <a:pt x="265" y="839"/>
                    </a:lnTo>
                    <a:lnTo>
                      <a:pt x="265" y="834"/>
                    </a:lnTo>
                    <a:lnTo>
                      <a:pt x="260" y="827"/>
                    </a:lnTo>
                    <a:lnTo>
                      <a:pt x="257" y="824"/>
                    </a:lnTo>
                    <a:lnTo>
                      <a:pt x="251" y="817"/>
                    </a:lnTo>
                    <a:lnTo>
                      <a:pt x="255" y="814"/>
                    </a:lnTo>
                    <a:lnTo>
                      <a:pt x="255" y="810"/>
                    </a:lnTo>
                    <a:lnTo>
                      <a:pt x="257" y="804"/>
                    </a:lnTo>
                    <a:lnTo>
                      <a:pt x="251" y="802"/>
                    </a:lnTo>
                    <a:lnTo>
                      <a:pt x="248" y="802"/>
                    </a:lnTo>
                    <a:lnTo>
                      <a:pt x="245" y="802"/>
                    </a:lnTo>
                    <a:lnTo>
                      <a:pt x="243" y="805"/>
                    </a:lnTo>
                    <a:lnTo>
                      <a:pt x="241" y="809"/>
                    </a:lnTo>
                    <a:lnTo>
                      <a:pt x="236" y="810"/>
                    </a:lnTo>
                    <a:lnTo>
                      <a:pt x="231" y="810"/>
                    </a:lnTo>
                    <a:lnTo>
                      <a:pt x="228" y="809"/>
                    </a:lnTo>
                    <a:lnTo>
                      <a:pt x="223" y="812"/>
                    </a:lnTo>
                    <a:lnTo>
                      <a:pt x="219" y="812"/>
                    </a:lnTo>
                    <a:lnTo>
                      <a:pt x="216" y="814"/>
                    </a:lnTo>
                    <a:lnTo>
                      <a:pt x="212" y="812"/>
                    </a:lnTo>
                    <a:lnTo>
                      <a:pt x="207" y="814"/>
                    </a:lnTo>
                    <a:lnTo>
                      <a:pt x="204" y="815"/>
                    </a:lnTo>
                    <a:lnTo>
                      <a:pt x="200" y="819"/>
                    </a:lnTo>
                    <a:lnTo>
                      <a:pt x="194" y="817"/>
                    </a:lnTo>
                    <a:lnTo>
                      <a:pt x="190" y="822"/>
                    </a:lnTo>
                    <a:lnTo>
                      <a:pt x="185" y="821"/>
                    </a:lnTo>
                    <a:lnTo>
                      <a:pt x="182" y="819"/>
                    </a:lnTo>
                    <a:lnTo>
                      <a:pt x="178" y="821"/>
                    </a:lnTo>
                    <a:lnTo>
                      <a:pt x="173" y="821"/>
                    </a:lnTo>
                    <a:lnTo>
                      <a:pt x="172" y="815"/>
                    </a:lnTo>
                    <a:lnTo>
                      <a:pt x="170" y="812"/>
                    </a:lnTo>
                    <a:lnTo>
                      <a:pt x="166" y="812"/>
                    </a:lnTo>
                    <a:lnTo>
                      <a:pt x="163" y="812"/>
                    </a:lnTo>
                    <a:lnTo>
                      <a:pt x="160" y="810"/>
                    </a:lnTo>
                    <a:lnTo>
                      <a:pt x="155" y="812"/>
                    </a:lnTo>
                    <a:lnTo>
                      <a:pt x="149" y="809"/>
                    </a:lnTo>
                    <a:lnTo>
                      <a:pt x="146" y="805"/>
                    </a:lnTo>
                    <a:lnTo>
                      <a:pt x="146" y="802"/>
                    </a:lnTo>
                    <a:lnTo>
                      <a:pt x="141" y="802"/>
                    </a:lnTo>
                    <a:lnTo>
                      <a:pt x="137" y="799"/>
                    </a:lnTo>
                    <a:lnTo>
                      <a:pt x="134" y="795"/>
                    </a:lnTo>
                    <a:lnTo>
                      <a:pt x="132" y="792"/>
                    </a:lnTo>
                    <a:lnTo>
                      <a:pt x="127" y="790"/>
                    </a:lnTo>
                    <a:lnTo>
                      <a:pt x="122" y="790"/>
                    </a:lnTo>
                    <a:lnTo>
                      <a:pt x="119" y="790"/>
                    </a:lnTo>
                    <a:lnTo>
                      <a:pt x="114" y="785"/>
                    </a:lnTo>
                    <a:lnTo>
                      <a:pt x="109" y="783"/>
                    </a:lnTo>
                    <a:lnTo>
                      <a:pt x="103" y="778"/>
                    </a:lnTo>
                    <a:lnTo>
                      <a:pt x="95" y="780"/>
                    </a:lnTo>
                    <a:lnTo>
                      <a:pt x="92" y="780"/>
                    </a:lnTo>
                    <a:lnTo>
                      <a:pt x="88" y="778"/>
                    </a:lnTo>
                    <a:lnTo>
                      <a:pt x="85" y="775"/>
                    </a:lnTo>
                    <a:lnTo>
                      <a:pt x="83" y="771"/>
                    </a:lnTo>
                    <a:lnTo>
                      <a:pt x="83" y="763"/>
                    </a:lnTo>
                    <a:lnTo>
                      <a:pt x="80" y="760"/>
                    </a:lnTo>
                    <a:lnTo>
                      <a:pt x="75" y="756"/>
                    </a:lnTo>
                    <a:lnTo>
                      <a:pt x="75" y="753"/>
                    </a:lnTo>
                    <a:lnTo>
                      <a:pt x="73" y="748"/>
                    </a:lnTo>
                    <a:lnTo>
                      <a:pt x="69" y="746"/>
                    </a:lnTo>
                    <a:lnTo>
                      <a:pt x="66" y="743"/>
                    </a:lnTo>
                    <a:lnTo>
                      <a:pt x="64" y="737"/>
                    </a:lnTo>
                    <a:lnTo>
                      <a:pt x="63" y="734"/>
                    </a:lnTo>
                    <a:lnTo>
                      <a:pt x="58" y="732"/>
                    </a:lnTo>
                    <a:lnTo>
                      <a:pt x="59" y="729"/>
                    </a:lnTo>
                    <a:lnTo>
                      <a:pt x="59" y="724"/>
                    </a:lnTo>
                    <a:lnTo>
                      <a:pt x="59" y="721"/>
                    </a:lnTo>
                    <a:lnTo>
                      <a:pt x="59" y="717"/>
                    </a:lnTo>
                    <a:lnTo>
                      <a:pt x="58" y="712"/>
                    </a:lnTo>
                    <a:lnTo>
                      <a:pt x="64" y="710"/>
                    </a:lnTo>
                    <a:lnTo>
                      <a:pt x="68" y="710"/>
                    </a:lnTo>
                    <a:lnTo>
                      <a:pt x="71" y="710"/>
                    </a:lnTo>
                    <a:lnTo>
                      <a:pt x="69" y="705"/>
                    </a:lnTo>
                    <a:lnTo>
                      <a:pt x="64" y="702"/>
                    </a:lnTo>
                    <a:lnTo>
                      <a:pt x="63" y="698"/>
                    </a:lnTo>
                    <a:lnTo>
                      <a:pt x="61" y="693"/>
                    </a:lnTo>
                    <a:lnTo>
                      <a:pt x="58" y="692"/>
                    </a:lnTo>
                    <a:lnTo>
                      <a:pt x="56" y="688"/>
                    </a:lnTo>
                    <a:lnTo>
                      <a:pt x="51" y="683"/>
                    </a:lnTo>
                    <a:lnTo>
                      <a:pt x="51" y="678"/>
                    </a:lnTo>
                    <a:lnTo>
                      <a:pt x="49" y="673"/>
                    </a:lnTo>
                    <a:lnTo>
                      <a:pt x="54" y="670"/>
                    </a:lnTo>
                    <a:lnTo>
                      <a:pt x="56" y="665"/>
                    </a:lnTo>
                    <a:lnTo>
                      <a:pt x="59" y="665"/>
                    </a:lnTo>
                    <a:lnTo>
                      <a:pt x="63" y="663"/>
                    </a:lnTo>
                    <a:lnTo>
                      <a:pt x="64" y="659"/>
                    </a:lnTo>
                    <a:lnTo>
                      <a:pt x="68" y="659"/>
                    </a:lnTo>
                    <a:lnTo>
                      <a:pt x="71" y="653"/>
                    </a:lnTo>
                    <a:lnTo>
                      <a:pt x="71" y="649"/>
                    </a:lnTo>
                    <a:lnTo>
                      <a:pt x="75" y="646"/>
                    </a:lnTo>
                    <a:lnTo>
                      <a:pt x="75" y="642"/>
                    </a:lnTo>
                    <a:lnTo>
                      <a:pt x="78" y="642"/>
                    </a:lnTo>
                    <a:lnTo>
                      <a:pt x="78" y="639"/>
                    </a:lnTo>
                    <a:lnTo>
                      <a:pt x="75" y="631"/>
                    </a:lnTo>
                    <a:lnTo>
                      <a:pt x="78" y="626"/>
                    </a:lnTo>
                    <a:lnTo>
                      <a:pt x="78" y="622"/>
                    </a:lnTo>
                    <a:lnTo>
                      <a:pt x="83" y="619"/>
                    </a:lnTo>
                    <a:lnTo>
                      <a:pt x="86" y="617"/>
                    </a:lnTo>
                    <a:lnTo>
                      <a:pt x="92" y="619"/>
                    </a:lnTo>
                    <a:lnTo>
                      <a:pt x="95" y="617"/>
                    </a:lnTo>
                    <a:lnTo>
                      <a:pt x="98" y="619"/>
                    </a:lnTo>
                    <a:lnTo>
                      <a:pt x="103" y="622"/>
                    </a:lnTo>
                    <a:lnTo>
                      <a:pt x="107" y="620"/>
                    </a:lnTo>
                    <a:lnTo>
                      <a:pt x="107" y="615"/>
                    </a:lnTo>
                    <a:lnTo>
                      <a:pt x="105" y="612"/>
                    </a:lnTo>
                    <a:lnTo>
                      <a:pt x="100" y="609"/>
                    </a:lnTo>
                    <a:lnTo>
                      <a:pt x="97" y="605"/>
                    </a:lnTo>
                    <a:lnTo>
                      <a:pt x="95" y="600"/>
                    </a:lnTo>
                    <a:lnTo>
                      <a:pt x="93" y="597"/>
                    </a:lnTo>
                    <a:lnTo>
                      <a:pt x="95" y="593"/>
                    </a:lnTo>
                    <a:lnTo>
                      <a:pt x="95" y="590"/>
                    </a:lnTo>
                    <a:lnTo>
                      <a:pt x="92" y="585"/>
                    </a:lnTo>
                    <a:lnTo>
                      <a:pt x="90" y="581"/>
                    </a:lnTo>
                    <a:lnTo>
                      <a:pt x="93" y="575"/>
                    </a:lnTo>
                    <a:lnTo>
                      <a:pt x="95" y="571"/>
                    </a:lnTo>
                    <a:lnTo>
                      <a:pt x="92" y="570"/>
                    </a:lnTo>
                    <a:lnTo>
                      <a:pt x="92" y="564"/>
                    </a:lnTo>
                    <a:lnTo>
                      <a:pt x="86" y="563"/>
                    </a:lnTo>
                    <a:lnTo>
                      <a:pt x="81" y="563"/>
                    </a:lnTo>
                    <a:lnTo>
                      <a:pt x="78" y="559"/>
                    </a:lnTo>
                    <a:lnTo>
                      <a:pt x="75" y="558"/>
                    </a:lnTo>
                    <a:lnTo>
                      <a:pt x="69" y="561"/>
                    </a:lnTo>
                    <a:lnTo>
                      <a:pt x="66" y="563"/>
                    </a:lnTo>
                    <a:lnTo>
                      <a:pt x="59" y="561"/>
                    </a:lnTo>
                    <a:lnTo>
                      <a:pt x="56" y="561"/>
                    </a:lnTo>
                    <a:lnTo>
                      <a:pt x="51" y="558"/>
                    </a:lnTo>
                    <a:lnTo>
                      <a:pt x="47" y="556"/>
                    </a:lnTo>
                    <a:lnTo>
                      <a:pt x="42" y="551"/>
                    </a:lnTo>
                    <a:lnTo>
                      <a:pt x="39" y="548"/>
                    </a:lnTo>
                    <a:lnTo>
                      <a:pt x="35" y="546"/>
                    </a:lnTo>
                    <a:lnTo>
                      <a:pt x="34" y="542"/>
                    </a:lnTo>
                    <a:lnTo>
                      <a:pt x="30" y="541"/>
                    </a:lnTo>
                    <a:lnTo>
                      <a:pt x="27" y="537"/>
                    </a:lnTo>
                    <a:lnTo>
                      <a:pt x="27" y="534"/>
                    </a:lnTo>
                    <a:lnTo>
                      <a:pt x="30" y="531"/>
                    </a:lnTo>
                    <a:lnTo>
                      <a:pt x="29" y="525"/>
                    </a:lnTo>
                    <a:lnTo>
                      <a:pt x="30" y="522"/>
                    </a:lnTo>
                    <a:lnTo>
                      <a:pt x="30" y="517"/>
                    </a:lnTo>
                    <a:lnTo>
                      <a:pt x="27" y="514"/>
                    </a:lnTo>
                    <a:lnTo>
                      <a:pt x="25" y="510"/>
                    </a:lnTo>
                    <a:lnTo>
                      <a:pt x="29" y="507"/>
                    </a:lnTo>
                    <a:lnTo>
                      <a:pt x="27" y="502"/>
                    </a:lnTo>
                    <a:lnTo>
                      <a:pt x="22" y="500"/>
                    </a:lnTo>
                    <a:lnTo>
                      <a:pt x="18" y="500"/>
                    </a:lnTo>
                    <a:lnTo>
                      <a:pt x="10" y="500"/>
                    </a:lnTo>
                    <a:lnTo>
                      <a:pt x="7" y="495"/>
                    </a:lnTo>
                    <a:lnTo>
                      <a:pt x="8" y="492"/>
                    </a:lnTo>
                    <a:lnTo>
                      <a:pt x="7" y="486"/>
                    </a:lnTo>
                    <a:lnTo>
                      <a:pt x="7" y="481"/>
                    </a:lnTo>
                    <a:lnTo>
                      <a:pt x="3" y="480"/>
                    </a:lnTo>
                    <a:lnTo>
                      <a:pt x="3" y="476"/>
                    </a:lnTo>
                    <a:lnTo>
                      <a:pt x="0" y="473"/>
                    </a:lnTo>
                    <a:lnTo>
                      <a:pt x="0" y="466"/>
                    </a:lnTo>
                    <a:lnTo>
                      <a:pt x="3" y="466"/>
                    </a:lnTo>
                    <a:lnTo>
                      <a:pt x="10" y="463"/>
                    </a:lnTo>
                    <a:lnTo>
                      <a:pt x="12" y="459"/>
                    </a:lnTo>
                    <a:lnTo>
                      <a:pt x="15" y="458"/>
                    </a:lnTo>
                    <a:lnTo>
                      <a:pt x="18" y="456"/>
                    </a:lnTo>
                    <a:lnTo>
                      <a:pt x="22" y="458"/>
                    </a:lnTo>
                    <a:lnTo>
                      <a:pt x="27" y="459"/>
                    </a:lnTo>
                    <a:lnTo>
                      <a:pt x="32" y="454"/>
                    </a:lnTo>
                    <a:lnTo>
                      <a:pt x="37" y="453"/>
                    </a:lnTo>
                    <a:lnTo>
                      <a:pt x="44" y="454"/>
                    </a:lnTo>
                    <a:lnTo>
                      <a:pt x="47" y="458"/>
                    </a:lnTo>
                    <a:lnTo>
                      <a:pt x="52" y="459"/>
                    </a:lnTo>
                    <a:lnTo>
                      <a:pt x="58" y="463"/>
                    </a:lnTo>
                    <a:lnTo>
                      <a:pt x="63" y="459"/>
                    </a:lnTo>
                    <a:lnTo>
                      <a:pt x="66" y="459"/>
                    </a:lnTo>
                    <a:lnTo>
                      <a:pt x="64" y="454"/>
                    </a:lnTo>
                    <a:lnTo>
                      <a:pt x="64" y="449"/>
                    </a:lnTo>
                    <a:lnTo>
                      <a:pt x="69" y="449"/>
                    </a:lnTo>
                    <a:lnTo>
                      <a:pt x="73" y="449"/>
                    </a:lnTo>
                    <a:lnTo>
                      <a:pt x="76" y="449"/>
                    </a:lnTo>
                    <a:lnTo>
                      <a:pt x="81" y="442"/>
                    </a:lnTo>
                    <a:lnTo>
                      <a:pt x="85" y="439"/>
                    </a:lnTo>
                    <a:lnTo>
                      <a:pt x="83" y="436"/>
                    </a:lnTo>
                    <a:lnTo>
                      <a:pt x="86" y="436"/>
                    </a:lnTo>
                    <a:lnTo>
                      <a:pt x="92" y="434"/>
                    </a:lnTo>
                    <a:lnTo>
                      <a:pt x="98" y="434"/>
                    </a:lnTo>
                    <a:lnTo>
                      <a:pt x="102" y="432"/>
                    </a:lnTo>
                    <a:lnTo>
                      <a:pt x="105" y="429"/>
                    </a:lnTo>
                    <a:lnTo>
                      <a:pt x="109" y="432"/>
                    </a:lnTo>
                    <a:lnTo>
                      <a:pt x="112" y="434"/>
                    </a:lnTo>
                    <a:lnTo>
                      <a:pt x="114" y="431"/>
                    </a:lnTo>
                    <a:lnTo>
                      <a:pt x="119" y="424"/>
                    </a:lnTo>
                    <a:lnTo>
                      <a:pt x="122" y="424"/>
                    </a:lnTo>
                    <a:lnTo>
                      <a:pt x="127" y="420"/>
                    </a:lnTo>
                    <a:lnTo>
                      <a:pt x="126" y="415"/>
                    </a:lnTo>
                    <a:lnTo>
                      <a:pt x="127" y="412"/>
                    </a:lnTo>
                    <a:lnTo>
                      <a:pt x="126" y="407"/>
                    </a:lnTo>
                    <a:lnTo>
                      <a:pt x="122" y="403"/>
                    </a:lnTo>
                    <a:lnTo>
                      <a:pt x="122" y="398"/>
                    </a:lnTo>
                    <a:lnTo>
                      <a:pt x="120" y="395"/>
                    </a:lnTo>
                    <a:lnTo>
                      <a:pt x="126" y="395"/>
                    </a:lnTo>
                    <a:lnTo>
                      <a:pt x="126" y="391"/>
                    </a:lnTo>
                    <a:lnTo>
                      <a:pt x="127" y="388"/>
                    </a:lnTo>
                    <a:lnTo>
                      <a:pt x="131" y="385"/>
                    </a:lnTo>
                    <a:lnTo>
                      <a:pt x="134" y="381"/>
                    </a:lnTo>
                    <a:lnTo>
                      <a:pt x="134" y="378"/>
                    </a:lnTo>
                    <a:lnTo>
                      <a:pt x="139" y="369"/>
                    </a:lnTo>
                    <a:lnTo>
                      <a:pt x="136" y="364"/>
                    </a:lnTo>
                    <a:lnTo>
                      <a:pt x="132" y="363"/>
                    </a:lnTo>
                    <a:lnTo>
                      <a:pt x="129" y="359"/>
                    </a:lnTo>
                    <a:lnTo>
                      <a:pt x="122" y="358"/>
                    </a:lnTo>
                    <a:lnTo>
                      <a:pt x="122" y="352"/>
                    </a:lnTo>
                    <a:lnTo>
                      <a:pt x="119" y="349"/>
                    </a:lnTo>
                    <a:lnTo>
                      <a:pt x="120" y="346"/>
                    </a:lnTo>
                    <a:lnTo>
                      <a:pt x="124" y="341"/>
                    </a:lnTo>
                    <a:lnTo>
                      <a:pt x="124" y="337"/>
                    </a:lnTo>
                    <a:lnTo>
                      <a:pt x="126" y="334"/>
                    </a:lnTo>
                    <a:lnTo>
                      <a:pt x="126" y="330"/>
                    </a:lnTo>
                    <a:lnTo>
                      <a:pt x="131" y="330"/>
                    </a:lnTo>
                    <a:lnTo>
                      <a:pt x="131" y="336"/>
                    </a:lnTo>
                    <a:lnTo>
                      <a:pt x="129" y="341"/>
                    </a:lnTo>
                    <a:lnTo>
                      <a:pt x="134" y="339"/>
                    </a:lnTo>
                    <a:lnTo>
                      <a:pt x="141" y="341"/>
                    </a:lnTo>
                    <a:lnTo>
                      <a:pt x="144" y="341"/>
                    </a:lnTo>
                    <a:lnTo>
                      <a:pt x="148" y="344"/>
                    </a:lnTo>
                    <a:lnTo>
                      <a:pt x="153" y="342"/>
                    </a:lnTo>
                    <a:lnTo>
                      <a:pt x="156" y="337"/>
                    </a:lnTo>
                    <a:lnTo>
                      <a:pt x="160" y="336"/>
                    </a:lnTo>
                    <a:lnTo>
                      <a:pt x="161" y="332"/>
                    </a:lnTo>
                    <a:lnTo>
                      <a:pt x="166" y="329"/>
                    </a:lnTo>
                    <a:lnTo>
                      <a:pt x="170" y="329"/>
                    </a:lnTo>
                    <a:lnTo>
                      <a:pt x="175" y="330"/>
                    </a:lnTo>
                    <a:lnTo>
                      <a:pt x="178" y="327"/>
                    </a:lnTo>
                    <a:lnTo>
                      <a:pt x="182" y="327"/>
                    </a:lnTo>
                    <a:lnTo>
                      <a:pt x="185" y="327"/>
                    </a:lnTo>
                    <a:lnTo>
                      <a:pt x="189" y="329"/>
                    </a:lnTo>
                    <a:lnTo>
                      <a:pt x="194" y="325"/>
                    </a:lnTo>
                    <a:lnTo>
                      <a:pt x="199" y="320"/>
                    </a:lnTo>
                    <a:lnTo>
                      <a:pt x="206" y="317"/>
                    </a:lnTo>
                    <a:lnTo>
                      <a:pt x="209" y="310"/>
                    </a:lnTo>
                    <a:lnTo>
                      <a:pt x="217" y="307"/>
                    </a:lnTo>
                    <a:lnTo>
                      <a:pt x="221" y="307"/>
                    </a:lnTo>
                    <a:lnTo>
                      <a:pt x="224" y="308"/>
                    </a:lnTo>
                    <a:lnTo>
                      <a:pt x="228" y="308"/>
                    </a:lnTo>
                    <a:lnTo>
                      <a:pt x="231" y="305"/>
                    </a:lnTo>
                    <a:lnTo>
                      <a:pt x="236" y="303"/>
                    </a:lnTo>
                    <a:lnTo>
                      <a:pt x="245" y="308"/>
                    </a:lnTo>
                    <a:lnTo>
                      <a:pt x="246" y="312"/>
                    </a:lnTo>
                    <a:lnTo>
                      <a:pt x="250" y="313"/>
                    </a:lnTo>
                    <a:lnTo>
                      <a:pt x="255" y="312"/>
                    </a:lnTo>
                    <a:lnTo>
                      <a:pt x="258" y="315"/>
                    </a:lnTo>
                    <a:lnTo>
                      <a:pt x="263" y="319"/>
                    </a:lnTo>
                    <a:lnTo>
                      <a:pt x="267" y="317"/>
                    </a:lnTo>
                    <a:lnTo>
                      <a:pt x="274" y="317"/>
                    </a:lnTo>
                    <a:lnTo>
                      <a:pt x="277" y="319"/>
                    </a:lnTo>
                    <a:lnTo>
                      <a:pt x="280" y="317"/>
                    </a:lnTo>
                    <a:lnTo>
                      <a:pt x="284" y="313"/>
                    </a:lnTo>
                    <a:lnTo>
                      <a:pt x="289" y="312"/>
                    </a:lnTo>
                    <a:lnTo>
                      <a:pt x="292" y="308"/>
                    </a:lnTo>
                    <a:lnTo>
                      <a:pt x="297" y="305"/>
                    </a:lnTo>
                    <a:lnTo>
                      <a:pt x="301" y="303"/>
                    </a:lnTo>
                    <a:lnTo>
                      <a:pt x="304" y="303"/>
                    </a:lnTo>
                    <a:lnTo>
                      <a:pt x="309" y="303"/>
                    </a:lnTo>
                    <a:lnTo>
                      <a:pt x="313" y="302"/>
                    </a:lnTo>
                    <a:lnTo>
                      <a:pt x="316" y="303"/>
                    </a:lnTo>
                    <a:lnTo>
                      <a:pt x="318" y="298"/>
                    </a:lnTo>
                    <a:lnTo>
                      <a:pt x="320" y="293"/>
                    </a:lnTo>
                    <a:lnTo>
                      <a:pt x="325" y="290"/>
                    </a:lnTo>
                    <a:lnTo>
                      <a:pt x="328" y="286"/>
                    </a:lnTo>
                    <a:lnTo>
                      <a:pt x="326" y="283"/>
                    </a:lnTo>
                    <a:lnTo>
                      <a:pt x="325" y="280"/>
                    </a:lnTo>
                    <a:lnTo>
                      <a:pt x="323" y="276"/>
                    </a:lnTo>
                    <a:lnTo>
                      <a:pt x="320" y="273"/>
                    </a:lnTo>
                    <a:lnTo>
                      <a:pt x="321" y="268"/>
                    </a:lnTo>
                    <a:lnTo>
                      <a:pt x="325" y="264"/>
                    </a:lnTo>
                    <a:lnTo>
                      <a:pt x="328" y="259"/>
                    </a:lnTo>
                    <a:lnTo>
                      <a:pt x="326" y="256"/>
                    </a:lnTo>
                    <a:lnTo>
                      <a:pt x="320" y="249"/>
                    </a:lnTo>
                    <a:lnTo>
                      <a:pt x="316" y="246"/>
                    </a:lnTo>
                    <a:lnTo>
                      <a:pt x="314" y="242"/>
                    </a:lnTo>
                    <a:lnTo>
                      <a:pt x="313" y="237"/>
                    </a:lnTo>
                    <a:lnTo>
                      <a:pt x="311" y="234"/>
                    </a:lnTo>
                    <a:lnTo>
                      <a:pt x="311" y="225"/>
                    </a:lnTo>
                    <a:lnTo>
                      <a:pt x="313" y="222"/>
                    </a:lnTo>
                    <a:lnTo>
                      <a:pt x="313" y="219"/>
                    </a:lnTo>
                    <a:lnTo>
                      <a:pt x="311" y="215"/>
                    </a:lnTo>
                    <a:lnTo>
                      <a:pt x="314" y="210"/>
                    </a:lnTo>
                    <a:lnTo>
                      <a:pt x="311" y="203"/>
                    </a:lnTo>
                    <a:lnTo>
                      <a:pt x="311" y="198"/>
                    </a:lnTo>
                    <a:lnTo>
                      <a:pt x="311" y="193"/>
                    </a:lnTo>
                    <a:lnTo>
                      <a:pt x="313" y="190"/>
                    </a:lnTo>
                    <a:lnTo>
                      <a:pt x="314" y="186"/>
                    </a:lnTo>
                    <a:lnTo>
                      <a:pt x="313" y="180"/>
                    </a:lnTo>
                    <a:lnTo>
                      <a:pt x="314" y="174"/>
                    </a:lnTo>
                    <a:lnTo>
                      <a:pt x="314" y="171"/>
                    </a:lnTo>
                    <a:lnTo>
                      <a:pt x="320" y="168"/>
                    </a:lnTo>
                    <a:lnTo>
                      <a:pt x="323" y="164"/>
                    </a:lnTo>
                    <a:lnTo>
                      <a:pt x="331" y="163"/>
                    </a:lnTo>
                    <a:lnTo>
                      <a:pt x="338" y="163"/>
                    </a:lnTo>
                    <a:lnTo>
                      <a:pt x="342" y="163"/>
                    </a:lnTo>
                    <a:lnTo>
                      <a:pt x="345" y="157"/>
                    </a:lnTo>
                    <a:lnTo>
                      <a:pt x="350" y="154"/>
                    </a:lnTo>
                    <a:lnTo>
                      <a:pt x="350" y="149"/>
                    </a:lnTo>
                    <a:lnTo>
                      <a:pt x="354" y="147"/>
                    </a:lnTo>
                    <a:lnTo>
                      <a:pt x="354" y="144"/>
                    </a:lnTo>
                    <a:lnTo>
                      <a:pt x="352" y="140"/>
                    </a:lnTo>
                    <a:lnTo>
                      <a:pt x="350" y="135"/>
                    </a:lnTo>
                    <a:lnTo>
                      <a:pt x="354" y="130"/>
                    </a:lnTo>
                    <a:lnTo>
                      <a:pt x="359" y="127"/>
                    </a:lnTo>
                    <a:lnTo>
                      <a:pt x="362" y="125"/>
                    </a:lnTo>
                    <a:lnTo>
                      <a:pt x="367" y="124"/>
                    </a:lnTo>
                    <a:lnTo>
                      <a:pt x="372" y="124"/>
                    </a:lnTo>
                    <a:lnTo>
                      <a:pt x="374" y="120"/>
                    </a:lnTo>
                    <a:lnTo>
                      <a:pt x="374" y="117"/>
                    </a:lnTo>
                    <a:lnTo>
                      <a:pt x="379" y="113"/>
                    </a:lnTo>
                    <a:lnTo>
                      <a:pt x="382" y="113"/>
                    </a:lnTo>
                    <a:lnTo>
                      <a:pt x="384" y="108"/>
                    </a:lnTo>
                    <a:lnTo>
                      <a:pt x="382" y="105"/>
                    </a:lnTo>
                    <a:lnTo>
                      <a:pt x="384" y="101"/>
                    </a:lnTo>
                    <a:lnTo>
                      <a:pt x="386" y="98"/>
                    </a:lnTo>
                    <a:lnTo>
                      <a:pt x="384" y="93"/>
                    </a:lnTo>
                    <a:lnTo>
                      <a:pt x="382" y="90"/>
                    </a:lnTo>
                    <a:lnTo>
                      <a:pt x="381" y="85"/>
                    </a:lnTo>
                    <a:lnTo>
                      <a:pt x="377" y="81"/>
                    </a:lnTo>
                    <a:lnTo>
                      <a:pt x="374" y="78"/>
                    </a:lnTo>
                    <a:lnTo>
                      <a:pt x="374" y="74"/>
                    </a:lnTo>
                    <a:lnTo>
                      <a:pt x="369" y="73"/>
                    </a:lnTo>
                    <a:lnTo>
                      <a:pt x="365" y="71"/>
                    </a:lnTo>
                    <a:lnTo>
                      <a:pt x="371" y="66"/>
                    </a:lnTo>
                    <a:lnTo>
                      <a:pt x="376" y="62"/>
                    </a:lnTo>
                    <a:lnTo>
                      <a:pt x="381" y="56"/>
                    </a:lnTo>
                    <a:lnTo>
                      <a:pt x="384" y="57"/>
                    </a:lnTo>
                    <a:lnTo>
                      <a:pt x="389" y="57"/>
                    </a:lnTo>
                    <a:lnTo>
                      <a:pt x="394" y="56"/>
                    </a:lnTo>
                    <a:lnTo>
                      <a:pt x="398" y="54"/>
                    </a:lnTo>
                    <a:lnTo>
                      <a:pt x="399" y="49"/>
                    </a:lnTo>
                    <a:lnTo>
                      <a:pt x="401" y="46"/>
                    </a:lnTo>
                    <a:lnTo>
                      <a:pt x="405" y="42"/>
                    </a:lnTo>
                    <a:lnTo>
                      <a:pt x="411" y="42"/>
                    </a:lnTo>
                    <a:lnTo>
                      <a:pt x="411" y="37"/>
                    </a:lnTo>
                    <a:lnTo>
                      <a:pt x="416" y="34"/>
                    </a:lnTo>
                    <a:lnTo>
                      <a:pt x="420" y="32"/>
                    </a:lnTo>
                    <a:lnTo>
                      <a:pt x="425" y="27"/>
                    </a:lnTo>
                    <a:lnTo>
                      <a:pt x="425" y="23"/>
                    </a:lnTo>
                    <a:lnTo>
                      <a:pt x="418" y="20"/>
                    </a:lnTo>
                    <a:lnTo>
                      <a:pt x="420" y="15"/>
                    </a:lnTo>
                    <a:lnTo>
                      <a:pt x="423" y="13"/>
                    </a:lnTo>
                    <a:lnTo>
                      <a:pt x="428" y="12"/>
                    </a:lnTo>
                    <a:lnTo>
                      <a:pt x="434" y="5"/>
                    </a:lnTo>
                    <a:lnTo>
                      <a:pt x="439" y="3"/>
                    </a:lnTo>
                    <a:lnTo>
                      <a:pt x="444" y="5"/>
                    </a:lnTo>
                    <a:lnTo>
                      <a:pt x="452" y="0"/>
                    </a:lnTo>
                    <a:lnTo>
                      <a:pt x="456" y="0"/>
                    </a:lnTo>
                    <a:lnTo>
                      <a:pt x="457" y="1"/>
                    </a:lnTo>
                    <a:lnTo>
                      <a:pt x="459" y="5"/>
                    </a:lnTo>
                    <a:lnTo>
                      <a:pt x="461" y="8"/>
                    </a:lnTo>
                    <a:lnTo>
                      <a:pt x="459" y="13"/>
                    </a:lnTo>
                    <a:lnTo>
                      <a:pt x="461" y="18"/>
                    </a:lnTo>
                    <a:lnTo>
                      <a:pt x="461" y="22"/>
                    </a:lnTo>
                    <a:lnTo>
                      <a:pt x="461" y="25"/>
                    </a:lnTo>
                    <a:lnTo>
                      <a:pt x="461" y="29"/>
                    </a:lnTo>
                    <a:lnTo>
                      <a:pt x="461" y="35"/>
                    </a:lnTo>
                    <a:lnTo>
                      <a:pt x="459" y="39"/>
                    </a:lnTo>
                    <a:lnTo>
                      <a:pt x="459" y="42"/>
                    </a:lnTo>
                    <a:lnTo>
                      <a:pt x="461" y="46"/>
                    </a:lnTo>
                    <a:lnTo>
                      <a:pt x="457" y="49"/>
                    </a:lnTo>
                    <a:lnTo>
                      <a:pt x="454" y="56"/>
                    </a:lnTo>
                    <a:lnTo>
                      <a:pt x="452" y="61"/>
                    </a:lnTo>
                    <a:lnTo>
                      <a:pt x="456" y="64"/>
                    </a:lnTo>
                    <a:lnTo>
                      <a:pt x="457" y="69"/>
                    </a:lnTo>
                    <a:lnTo>
                      <a:pt x="454" y="73"/>
                    </a:lnTo>
                    <a:lnTo>
                      <a:pt x="459" y="76"/>
                    </a:lnTo>
                    <a:lnTo>
                      <a:pt x="461" y="79"/>
                    </a:lnTo>
                    <a:lnTo>
                      <a:pt x="464" y="83"/>
                    </a:lnTo>
                    <a:lnTo>
                      <a:pt x="468" y="83"/>
                    </a:lnTo>
                    <a:lnTo>
                      <a:pt x="471" y="85"/>
                    </a:lnTo>
                    <a:lnTo>
                      <a:pt x="474" y="86"/>
                    </a:lnTo>
                    <a:lnTo>
                      <a:pt x="476" y="90"/>
                    </a:lnTo>
                    <a:lnTo>
                      <a:pt x="478" y="93"/>
                    </a:lnTo>
                    <a:lnTo>
                      <a:pt x="485" y="98"/>
                    </a:lnTo>
                    <a:lnTo>
                      <a:pt x="486" y="101"/>
                    </a:lnTo>
                    <a:lnTo>
                      <a:pt x="486" y="107"/>
                    </a:lnTo>
                    <a:lnTo>
                      <a:pt x="491" y="108"/>
                    </a:lnTo>
                    <a:lnTo>
                      <a:pt x="491" y="113"/>
                    </a:lnTo>
                    <a:lnTo>
                      <a:pt x="495" y="117"/>
                    </a:lnTo>
                    <a:lnTo>
                      <a:pt x="496" y="120"/>
                    </a:lnTo>
                    <a:lnTo>
                      <a:pt x="500" y="120"/>
                    </a:lnTo>
                    <a:lnTo>
                      <a:pt x="505" y="120"/>
                    </a:lnTo>
                    <a:lnTo>
                      <a:pt x="507" y="124"/>
                    </a:lnTo>
                    <a:lnTo>
                      <a:pt x="513" y="125"/>
                    </a:lnTo>
                    <a:lnTo>
                      <a:pt x="517" y="127"/>
                    </a:lnTo>
                    <a:lnTo>
                      <a:pt x="520" y="129"/>
                    </a:lnTo>
                    <a:lnTo>
                      <a:pt x="519" y="132"/>
                    </a:lnTo>
                    <a:lnTo>
                      <a:pt x="520" y="137"/>
                    </a:lnTo>
                    <a:lnTo>
                      <a:pt x="520" y="140"/>
                    </a:lnTo>
                    <a:lnTo>
                      <a:pt x="522" y="144"/>
                    </a:lnTo>
                    <a:lnTo>
                      <a:pt x="522" y="149"/>
                    </a:lnTo>
                    <a:lnTo>
                      <a:pt x="524" y="152"/>
                    </a:lnTo>
                    <a:lnTo>
                      <a:pt x="524" y="156"/>
                    </a:lnTo>
                    <a:lnTo>
                      <a:pt x="522" y="159"/>
                    </a:lnTo>
                    <a:lnTo>
                      <a:pt x="517" y="164"/>
                    </a:lnTo>
                    <a:lnTo>
                      <a:pt x="513" y="168"/>
                    </a:lnTo>
                    <a:lnTo>
                      <a:pt x="507" y="174"/>
                    </a:lnTo>
                    <a:lnTo>
                      <a:pt x="496" y="185"/>
                    </a:lnTo>
                    <a:lnTo>
                      <a:pt x="493" y="190"/>
                    </a:lnTo>
                    <a:lnTo>
                      <a:pt x="486" y="196"/>
                    </a:lnTo>
                    <a:lnTo>
                      <a:pt x="485" y="202"/>
                    </a:lnTo>
                    <a:lnTo>
                      <a:pt x="488" y="210"/>
                    </a:lnTo>
                    <a:lnTo>
                      <a:pt x="490" y="215"/>
                    </a:lnTo>
                    <a:lnTo>
                      <a:pt x="491" y="220"/>
                    </a:lnTo>
                    <a:lnTo>
                      <a:pt x="491" y="224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1" name="Line 6">
                <a:extLst>
                  <a:ext uri="{FF2B5EF4-FFF2-40B4-BE49-F238E27FC236}">
                    <a16:creationId xmlns:a16="http://schemas.microsoft.com/office/drawing/2014/main" id="{E5D2F207-7320-ED5F-8F84-2525794250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57850" y="18351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2" name="Line 7">
                <a:extLst>
                  <a:ext uri="{FF2B5EF4-FFF2-40B4-BE49-F238E27FC236}">
                    <a16:creationId xmlns:a16="http://schemas.microsoft.com/office/drawing/2014/main" id="{27A225F1-DEC3-E85D-B03B-46C1A4A50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00713" y="18319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3" name="Freeform 8">
                <a:extLst>
                  <a:ext uri="{FF2B5EF4-FFF2-40B4-BE49-F238E27FC236}">
                    <a16:creationId xmlns:a16="http://schemas.microsoft.com/office/drawing/2014/main" id="{533A149E-7497-C6C1-DDE2-6A6B22D5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1287463"/>
                <a:ext cx="442912" cy="285750"/>
              </a:xfrm>
              <a:custGeom>
                <a:avLst/>
                <a:gdLst>
                  <a:gd name="T0" fmla="*/ 218 w 279"/>
                  <a:gd name="T1" fmla="*/ 153 h 180"/>
                  <a:gd name="T2" fmla="*/ 202 w 279"/>
                  <a:gd name="T3" fmla="*/ 148 h 180"/>
                  <a:gd name="T4" fmla="*/ 189 w 279"/>
                  <a:gd name="T5" fmla="*/ 141 h 180"/>
                  <a:gd name="T6" fmla="*/ 177 w 279"/>
                  <a:gd name="T7" fmla="*/ 144 h 180"/>
                  <a:gd name="T8" fmla="*/ 163 w 279"/>
                  <a:gd name="T9" fmla="*/ 144 h 180"/>
                  <a:gd name="T10" fmla="*/ 148 w 279"/>
                  <a:gd name="T11" fmla="*/ 160 h 180"/>
                  <a:gd name="T12" fmla="*/ 134 w 279"/>
                  <a:gd name="T13" fmla="*/ 163 h 180"/>
                  <a:gd name="T14" fmla="*/ 123 w 279"/>
                  <a:gd name="T15" fmla="*/ 165 h 180"/>
                  <a:gd name="T16" fmla="*/ 112 w 279"/>
                  <a:gd name="T17" fmla="*/ 170 h 180"/>
                  <a:gd name="T18" fmla="*/ 102 w 279"/>
                  <a:gd name="T19" fmla="*/ 180 h 180"/>
                  <a:gd name="T20" fmla="*/ 87 w 279"/>
                  <a:gd name="T21" fmla="*/ 175 h 180"/>
                  <a:gd name="T22" fmla="*/ 82 w 279"/>
                  <a:gd name="T23" fmla="*/ 168 h 180"/>
                  <a:gd name="T24" fmla="*/ 75 w 279"/>
                  <a:gd name="T25" fmla="*/ 172 h 180"/>
                  <a:gd name="T26" fmla="*/ 65 w 279"/>
                  <a:gd name="T27" fmla="*/ 178 h 180"/>
                  <a:gd name="T28" fmla="*/ 58 w 279"/>
                  <a:gd name="T29" fmla="*/ 175 h 180"/>
                  <a:gd name="T30" fmla="*/ 51 w 279"/>
                  <a:gd name="T31" fmla="*/ 170 h 180"/>
                  <a:gd name="T32" fmla="*/ 46 w 279"/>
                  <a:gd name="T33" fmla="*/ 160 h 180"/>
                  <a:gd name="T34" fmla="*/ 44 w 279"/>
                  <a:gd name="T35" fmla="*/ 146 h 180"/>
                  <a:gd name="T36" fmla="*/ 43 w 279"/>
                  <a:gd name="T37" fmla="*/ 134 h 180"/>
                  <a:gd name="T38" fmla="*/ 48 w 279"/>
                  <a:gd name="T39" fmla="*/ 122 h 180"/>
                  <a:gd name="T40" fmla="*/ 34 w 279"/>
                  <a:gd name="T41" fmla="*/ 116 h 180"/>
                  <a:gd name="T42" fmla="*/ 26 w 279"/>
                  <a:gd name="T43" fmla="*/ 112 h 180"/>
                  <a:gd name="T44" fmla="*/ 12 w 279"/>
                  <a:gd name="T45" fmla="*/ 102 h 180"/>
                  <a:gd name="T46" fmla="*/ 3 w 279"/>
                  <a:gd name="T47" fmla="*/ 92 h 180"/>
                  <a:gd name="T48" fmla="*/ 0 w 279"/>
                  <a:gd name="T49" fmla="*/ 82 h 180"/>
                  <a:gd name="T50" fmla="*/ 0 w 279"/>
                  <a:gd name="T51" fmla="*/ 68 h 180"/>
                  <a:gd name="T52" fmla="*/ 2 w 279"/>
                  <a:gd name="T53" fmla="*/ 55 h 180"/>
                  <a:gd name="T54" fmla="*/ 14 w 279"/>
                  <a:gd name="T55" fmla="*/ 51 h 180"/>
                  <a:gd name="T56" fmla="*/ 27 w 279"/>
                  <a:gd name="T57" fmla="*/ 48 h 180"/>
                  <a:gd name="T58" fmla="*/ 43 w 279"/>
                  <a:gd name="T59" fmla="*/ 39 h 180"/>
                  <a:gd name="T60" fmla="*/ 49 w 279"/>
                  <a:gd name="T61" fmla="*/ 29 h 180"/>
                  <a:gd name="T62" fmla="*/ 65 w 279"/>
                  <a:gd name="T63" fmla="*/ 24 h 180"/>
                  <a:gd name="T64" fmla="*/ 73 w 279"/>
                  <a:gd name="T65" fmla="*/ 39 h 180"/>
                  <a:gd name="T66" fmla="*/ 82 w 279"/>
                  <a:gd name="T67" fmla="*/ 41 h 180"/>
                  <a:gd name="T68" fmla="*/ 95 w 279"/>
                  <a:gd name="T69" fmla="*/ 44 h 180"/>
                  <a:gd name="T70" fmla="*/ 106 w 279"/>
                  <a:gd name="T71" fmla="*/ 32 h 180"/>
                  <a:gd name="T72" fmla="*/ 117 w 279"/>
                  <a:gd name="T73" fmla="*/ 31 h 180"/>
                  <a:gd name="T74" fmla="*/ 126 w 279"/>
                  <a:gd name="T75" fmla="*/ 24 h 180"/>
                  <a:gd name="T76" fmla="*/ 138 w 279"/>
                  <a:gd name="T77" fmla="*/ 27 h 180"/>
                  <a:gd name="T78" fmla="*/ 150 w 279"/>
                  <a:gd name="T79" fmla="*/ 27 h 180"/>
                  <a:gd name="T80" fmla="*/ 163 w 279"/>
                  <a:gd name="T81" fmla="*/ 19 h 180"/>
                  <a:gd name="T82" fmla="*/ 170 w 279"/>
                  <a:gd name="T83" fmla="*/ 12 h 180"/>
                  <a:gd name="T84" fmla="*/ 184 w 279"/>
                  <a:gd name="T85" fmla="*/ 10 h 180"/>
                  <a:gd name="T86" fmla="*/ 191 w 279"/>
                  <a:gd name="T87" fmla="*/ 0 h 180"/>
                  <a:gd name="T88" fmla="*/ 199 w 279"/>
                  <a:gd name="T89" fmla="*/ 7 h 180"/>
                  <a:gd name="T90" fmla="*/ 209 w 279"/>
                  <a:gd name="T91" fmla="*/ 7 h 180"/>
                  <a:gd name="T92" fmla="*/ 221 w 279"/>
                  <a:gd name="T93" fmla="*/ 12 h 180"/>
                  <a:gd name="T94" fmla="*/ 226 w 279"/>
                  <a:gd name="T95" fmla="*/ 24 h 180"/>
                  <a:gd name="T96" fmla="*/ 238 w 279"/>
                  <a:gd name="T97" fmla="*/ 19 h 180"/>
                  <a:gd name="T98" fmla="*/ 250 w 279"/>
                  <a:gd name="T99" fmla="*/ 24 h 180"/>
                  <a:gd name="T100" fmla="*/ 260 w 279"/>
                  <a:gd name="T101" fmla="*/ 26 h 180"/>
                  <a:gd name="T102" fmla="*/ 262 w 279"/>
                  <a:gd name="T103" fmla="*/ 39 h 180"/>
                  <a:gd name="T104" fmla="*/ 262 w 279"/>
                  <a:gd name="T105" fmla="*/ 55 h 180"/>
                  <a:gd name="T106" fmla="*/ 262 w 279"/>
                  <a:gd name="T107" fmla="*/ 68 h 180"/>
                  <a:gd name="T108" fmla="*/ 265 w 279"/>
                  <a:gd name="T109" fmla="*/ 78 h 180"/>
                  <a:gd name="T110" fmla="*/ 279 w 279"/>
                  <a:gd name="T111" fmla="*/ 95 h 180"/>
                  <a:gd name="T112" fmla="*/ 271 w 279"/>
                  <a:gd name="T113" fmla="*/ 109 h 180"/>
                  <a:gd name="T114" fmla="*/ 277 w 279"/>
                  <a:gd name="T115" fmla="*/ 119 h 180"/>
                  <a:gd name="T116" fmla="*/ 271 w 279"/>
                  <a:gd name="T117" fmla="*/ 129 h 180"/>
                  <a:gd name="T118" fmla="*/ 271 w 279"/>
                  <a:gd name="T119" fmla="*/ 141 h 180"/>
                  <a:gd name="T120" fmla="*/ 257 w 279"/>
                  <a:gd name="T121" fmla="*/ 138 h 180"/>
                  <a:gd name="T122" fmla="*/ 243 w 279"/>
                  <a:gd name="T123" fmla="*/ 143 h 180"/>
                  <a:gd name="T124" fmla="*/ 233 w 279"/>
                  <a:gd name="T125" fmla="*/ 151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9" h="180">
                    <a:moveTo>
                      <a:pt x="226" y="153"/>
                    </a:moveTo>
                    <a:lnTo>
                      <a:pt x="221" y="153"/>
                    </a:lnTo>
                    <a:lnTo>
                      <a:pt x="218" y="153"/>
                    </a:lnTo>
                    <a:lnTo>
                      <a:pt x="213" y="153"/>
                    </a:lnTo>
                    <a:lnTo>
                      <a:pt x="206" y="148"/>
                    </a:lnTo>
                    <a:lnTo>
                      <a:pt x="202" y="148"/>
                    </a:lnTo>
                    <a:lnTo>
                      <a:pt x="197" y="149"/>
                    </a:lnTo>
                    <a:lnTo>
                      <a:pt x="197" y="146"/>
                    </a:lnTo>
                    <a:lnTo>
                      <a:pt x="189" y="141"/>
                    </a:lnTo>
                    <a:lnTo>
                      <a:pt x="185" y="139"/>
                    </a:lnTo>
                    <a:lnTo>
                      <a:pt x="182" y="143"/>
                    </a:lnTo>
                    <a:lnTo>
                      <a:pt x="177" y="144"/>
                    </a:lnTo>
                    <a:lnTo>
                      <a:pt x="174" y="143"/>
                    </a:lnTo>
                    <a:lnTo>
                      <a:pt x="170" y="143"/>
                    </a:lnTo>
                    <a:lnTo>
                      <a:pt x="163" y="144"/>
                    </a:lnTo>
                    <a:lnTo>
                      <a:pt x="158" y="149"/>
                    </a:lnTo>
                    <a:lnTo>
                      <a:pt x="151" y="155"/>
                    </a:lnTo>
                    <a:lnTo>
                      <a:pt x="148" y="160"/>
                    </a:lnTo>
                    <a:lnTo>
                      <a:pt x="141" y="163"/>
                    </a:lnTo>
                    <a:lnTo>
                      <a:pt x="138" y="165"/>
                    </a:lnTo>
                    <a:lnTo>
                      <a:pt x="134" y="163"/>
                    </a:lnTo>
                    <a:lnTo>
                      <a:pt x="131" y="163"/>
                    </a:lnTo>
                    <a:lnTo>
                      <a:pt x="128" y="165"/>
                    </a:lnTo>
                    <a:lnTo>
                      <a:pt x="123" y="165"/>
                    </a:lnTo>
                    <a:lnTo>
                      <a:pt x="117" y="165"/>
                    </a:lnTo>
                    <a:lnTo>
                      <a:pt x="112" y="165"/>
                    </a:lnTo>
                    <a:lnTo>
                      <a:pt x="112" y="170"/>
                    </a:lnTo>
                    <a:lnTo>
                      <a:pt x="107" y="172"/>
                    </a:lnTo>
                    <a:lnTo>
                      <a:pt x="104" y="175"/>
                    </a:lnTo>
                    <a:lnTo>
                      <a:pt x="102" y="180"/>
                    </a:lnTo>
                    <a:lnTo>
                      <a:pt x="97" y="180"/>
                    </a:lnTo>
                    <a:lnTo>
                      <a:pt x="92" y="177"/>
                    </a:lnTo>
                    <a:lnTo>
                      <a:pt x="87" y="175"/>
                    </a:lnTo>
                    <a:lnTo>
                      <a:pt x="83" y="177"/>
                    </a:lnTo>
                    <a:lnTo>
                      <a:pt x="80" y="173"/>
                    </a:lnTo>
                    <a:lnTo>
                      <a:pt x="82" y="168"/>
                    </a:lnTo>
                    <a:lnTo>
                      <a:pt x="80" y="163"/>
                    </a:lnTo>
                    <a:lnTo>
                      <a:pt x="77" y="168"/>
                    </a:lnTo>
                    <a:lnTo>
                      <a:pt x="75" y="172"/>
                    </a:lnTo>
                    <a:lnTo>
                      <a:pt x="73" y="177"/>
                    </a:lnTo>
                    <a:lnTo>
                      <a:pt x="73" y="180"/>
                    </a:lnTo>
                    <a:lnTo>
                      <a:pt x="65" y="178"/>
                    </a:lnTo>
                    <a:lnTo>
                      <a:pt x="61" y="178"/>
                    </a:lnTo>
                    <a:lnTo>
                      <a:pt x="58" y="178"/>
                    </a:lnTo>
                    <a:lnTo>
                      <a:pt x="58" y="175"/>
                    </a:lnTo>
                    <a:lnTo>
                      <a:pt x="60" y="170"/>
                    </a:lnTo>
                    <a:lnTo>
                      <a:pt x="56" y="170"/>
                    </a:lnTo>
                    <a:lnTo>
                      <a:pt x="51" y="170"/>
                    </a:lnTo>
                    <a:lnTo>
                      <a:pt x="46" y="166"/>
                    </a:lnTo>
                    <a:lnTo>
                      <a:pt x="48" y="163"/>
                    </a:lnTo>
                    <a:lnTo>
                      <a:pt x="46" y="160"/>
                    </a:lnTo>
                    <a:lnTo>
                      <a:pt x="44" y="156"/>
                    </a:lnTo>
                    <a:lnTo>
                      <a:pt x="44" y="151"/>
                    </a:lnTo>
                    <a:lnTo>
                      <a:pt x="44" y="146"/>
                    </a:lnTo>
                    <a:lnTo>
                      <a:pt x="46" y="143"/>
                    </a:lnTo>
                    <a:lnTo>
                      <a:pt x="43" y="139"/>
                    </a:lnTo>
                    <a:lnTo>
                      <a:pt x="43" y="134"/>
                    </a:lnTo>
                    <a:lnTo>
                      <a:pt x="43" y="129"/>
                    </a:lnTo>
                    <a:lnTo>
                      <a:pt x="43" y="126"/>
                    </a:lnTo>
                    <a:lnTo>
                      <a:pt x="48" y="122"/>
                    </a:lnTo>
                    <a:lnTo>
                      <a:pt x="43" y="117"/>
                    </a:lnTo>
                    <a:lnTo>
                      <a:pt x="39" y="116"/>
                    </a:lnTo>
                    <a:lnTo>
                      <a:pt x="34" y="116"/>
                    </a:lnTo>
                    <a:lnTo>
                      <a:pt x="31" y="117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4" y="107"/>
                    </a:lnTo>
                    <a:lnTo>
                      <a:pt x="15" y="105"/>
                    </a:lnTo>
                    <a:lnTo>
                      <a:pt x="12" y="102"/>
                    </a:lnTo>
                    <a:lnTo>
                      <a:pt x="9" y="99"/>
                    </a:lnTo>
                    <a:lnTo>
                      <a:pt x="5" y="95"/>
                    </a:lnTo>
                    <a:lnTo>
                      <a:pt x="3" y="92"/>
                    </a:lnTo>
                    <a:lnTo>
                      <a:pt x="2" y="88"/>
                    </a:lnTo>
                    <a:lnTo>
                      <a:pt x="2" y="85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5"/>
                    </a:lnTo>
                    <a:lnTo>
                      <a:pt x="2" y="60"/>
                    </a:lnTo>
                    <a:lnTo>
                      <a:pt x="2" y="55"/>
                    </a:lnTo>
                    <a:lnTo>
                      <a:pt x="5" y="49"/>
                    </a:lnTo>
                    <a:lnTo>
                      <a:pt x="10" y="48"/>
                    </a:lnTo>
                    <a:lnTo>
                      <a:pt x="14" y="51"/>
                    </a:lnTo>
                    <a:lnTo>
                      <a:pt x="17" y="48"/>
                    </a:lnTo>
                    <a:lnTo>
                      <a:pt x="22" y="46"/>
                    </a:lnTo>
                    <a:lnTo>
                      <a:pt x="27" y="48"/>
                    </a:lnTo>
                    <a:lnTo>
                      <a:pt x="32" y="48"/>
                    </a:lnTo>
                    <a:lnTo>
                      <a:pt x="36" y="44"/>
                    </a:lnTo>
                    <a:lnTo>
                      <a:pt x="43" y="39"/>
                    </a:lnTo>
                    <a:lnTo>
                      <a:pt x="46" y="39"/>
                    </a:lnTo>
                    <a:lnTo>
                      <a:pt x="51" y="32"/>
                    </a:lnTo>
                    <a:lnTo>
                      <a:pt x="49" y="29"/>
                    </a:lnTo>
                    <a:lnTo>
                      <a:pt x="54" y="24"/>
                    </a:lnTo>
                    <a:lnTo>
                      <a:pt x="58" y="21"/>
                    </a:lnTo>
                    <a:lnTo>
                      <a:pt x="65" y="24"/>
                    </a:lnTo>
                    <a:lnTo>
                      <a:pt x="66" y="27"/>
                    </a:lnTo>
                    <a:lnTo>
                      <a:pt x="70" y="34"/>
                    </a:lnTo>
                    <a:lnTo>
                      <a:pt x="73" y="39"/>
                    </a:lnTo>
                    <a:lnTo>
                      <a:pt x="75" y="44"/>
                    </a:lnTo>
                    <a:lnTo>
                      <a:pt x="78" y="44"/>
                    </a:lnTo>
                    <a:lnTo>
                      <a:pt x="82" y="41"/>
                    </a:lnTo>
                    <a:lnTo>
                      <a:pt x="87" y="38"/>
                    </a:lnTo>
                    <a:lnTo>
                      <a:pt x="92" y="41"/>
                    </a:lnTo>
                    <a:lnTo>
                      <a:pt x="95" y="44"/>
                    </a:lnTo>
                    <a:lnTo>
                      <a:pt x="97" y="41"/>
                    </a:lnTo>
                    <a:lnTo>
                      <a:pt x="100" y="36"/>
                    </a:lnTo>
                    <a:lnTo>
                      <a:pt x="106" y="32"/>
                    </a:lnTo>
                    <a:lnTo>
                      <a:pt x="109" y="34"/>
                    </a:lnTo>
                    <a:lnTo>
                      <a:pt x="114" y="34"/>
                    </a:lnTo>
                    <a:lnTo>
                      <a:pt x="117" y="31"/>
                    </a:lnTo>
                    <a:lnTo>
                      <a:pt x="119" y="26"/>
                    </a:lnTo>
                    <a:lnTo>
                      <a:pt x="121" y="22"/>
                    </a:lnTo>
                    <a:lnTo>
                      <a:pt x="126" y="24"/>
                    </a:lnTo>
                    <a:lnTo>
                      <a:pt x="129" y="27"/>
                    </a:lnTo>
                    <a:lnTo>
                      <a:pt x="133" y="26"/>
                    </a:lnTo>
                    <a:lnTo>
                      <a:pt x="138" y="27"/>
                    </a:lnTo>
                    <a:lnTo>
                      <a:pt x="141" y="29"/>
                    </a:lnTo>
                    <a:lnTo>
                      <a:pt x="145" y="31"/>
                    </a:lnTo>
                    <a:lnTo>
                      <a:pt x="150" y="27"/>
                    </a:lnTo>
                    <a:lnTo>
                      <a:pt x="153" y="27"/>
                    </a:lnTo>
                    <a:lnTo>
                      <a:pt x="158" y="21"/>
                    </a:lnTo>
                    <a:lnTo>
                      <a:pt x="163" y="19"/>
                    </a:lnTo>
                    <a:lnTo>
                      <a:pt x="167" y="19"/>
                    </a:lnTo>
                    <a:lnTo>
                      <a:pt x="165" y="14"/>
                    </a:lnTo>
                    <a:lnTo>
                      <a:pt x="170" y="12"/>
                    </a:lnTo>
                    <a:lnTo>
                      <a:pt x="17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4" y="7"/>
                    </a:lnTo>
                    <a:lnTo>
                      <a:pt x="184" y="4"/>
                    </a:lnTo>
                    <a:lnTo>
                      <a:pt x="191" y="0"/>
                    </a:lnTo>
                    <a:lnTo>
                      <a:pt x="192" y="4"/>
                    </a:lnTo>
                    <a:lnTo>
                      <a:pt x="196" y="7"/>
                    </a:lnTo>
                    <a:lnTo>
                      <a:pt x="199" y="7"/>
                    </a:lnTo>
                    <a:lnTo>
                      <a:pt x="202" y="7"/>
                    </a:lnTo>
                    <a:lnTo>
                      <a:pt x="206" y="7"/>
                    </a:lnTo>
                    <a:lnTo>
                      <a:pt x="209" y="7"/>
                    </a:lnTo>
                    <a:lnTo>
                      <a:pt x="213" y="5"/>
                    </a:lnTo>
                    <a:lnTo>
                      <a:pt x="218" y="12"/>
                    </a:lnTo>
                    <a:lnTo>
                      <a:pt x="221" y="12"/>
                    </a:lnTo>
                    <a:lnTo>
                      <a:pt x="225" y="16"/>
                    </a:lnTo>
                    <a:lnTo>
                      <a:pt x="223" y="19"/>
                    </a:lnTo>
                    <a:lnTo>
                      <a:pt x="226" y="24"/>
                    </a:lnTo>
                    <a:lnTo>
                      <a:pt x="230" y="24"/>
                    </a:lnTo>
                    <a:lnTo>
                      <a:pt x="233" y="19"/>
                    </a:lnTo>
                    <a:lnTo>
                      <a:pt x="238" y="19"/>
                    </a:lnTo>
                    <a:lnTo>
                      <a:pt x="243" y="22"/>
                    </a:lnTo>
                    <a:lnTo>
                      <a:pt x="247" y="26"/>
                    </a:lnTo>
                    <a:lnTo>
                      <a:pt x="250" y="24"/>
                    </a:lnTo>
                    <a:lnTo>
                      <a:pt x="254" y="24"/>
                    </a:lnTo>
                    <a:lnTo>
                      <a:pt x="257" y="26"/>
                    </a:lnTo>
                    <a:lnTo>
                      <a:pt x="260" y="26"/>
                    </a:lnTo>
                    <a:lnTo>
                      <a:pt x="262" y="29"/>
                    </a:lnTo>
                    <a:lnTo>
                      <a:pt x="262" y="34"/>
                    </a:lnTo>
                    <a:lnTo>
                      <a:pt x="262" y="39"/>
                    </a:lnTo>
                    <a:lnTo>
                      <a:pt x="264" y="44"/>
                    </a:lnTo>
                    <a:lnTo>
                      <a:pt x="264" y="48"/>
                    </a:lnTo>
                    <a:lnTo>
                      <a:pt x="262" y="55"/>
                    </a:lnTo>
                    <a:lnTo>
                      <a:pt x="264" y="58"/>
                    </a:lnTo>
                    <a:lnTo>
                      <a:pt x="262" y="61"/>
                    </a:lnTo>
                    <a:lnTo>
                      <a:pt x="262" y="68"/>
                    </a:lnTo>
                    <a:lnTo>
                      <a:pt x="262" y="71"/>
                    </a:lnTo>
                    <a:lnTo>
                      <a:pt x="264" y="75"/>
                    </a:lnTo>
                    <a:lnTo>
                      <a:pt x="265" y="78"/>
                    </a:lnTo>
                    <a:lnTo>
                      <a:pt x="269" y="83"/>
                    </a:lnTo>
                    <a:lnTo>
                      <a:pt x="274" y="88"/>
                    </a:lnTo>
                    <a:lnTo>
                      <a:pt x="279" y="95"/>
                    </a:lnTo>
                    <a:lnTo>
                      <a:pt x="276" y="100"/>
                    </a:lnTo>
                    <a:lnTo>
                      <a:pt x="272" y="104"/>
                    </a:lnTo>
                    <a:lnTo>
                      <a:pt x="271" y="109"/>
                    </a:lnTo>
                    <a:lnTo>
                      <a:pt x="274" y="112"/>
                    </a:lnTo>
                    <a:lnTo>
                      <a:pt x="276" y="116"/>
                    </a:lnTo>
                    <a:lnTo>
                      <a:pt x="277" y="119"/>
                    </a:lnTo>
                    <a:lnTo>
                      <a:pt x="279" y="122"/>
                    </a:lnTo>
                    <a:lnTo>
                      <a:pt x="276" y="126"/>
                    </a:lnTo>
                    <a:lnTo>
                      <a:pt x="271" y="129"/>
                    </a:lnTo>
                    <a:lnTo>
                      <a:pt x="269" y="133"/>
                    </a:lnTo>
                    <a:lnTo>
                      <a:pt x="269" y="138"/>
                    </a:lnTo>
                    <a:lnTo>
                      <a:pt x="271" y="141"/>
                    </a:lnTo>
                    <a:lnTo>
                      <a:pt x="265" y="138"/>
                    </a:lnTo>
                    <a:lnTo>
                      <a:pt x="260" y="139"/>
                    </a:lnTo>
                    <a:lnTo>
                      <a:pt x="257" y="138"/>
                    </a:lnTo>
                    <a:lnTo>
                      <a:pt x="254" y="139"/>
                    </a:lnTo>
                    <a:lnTo>
                      <a:pt x="248" y="141"/>
                    </a:lnTo>
                    <a:lnTo>
                      <a:pt x="243" y="143"/>
                    </a:lnTo>
                    <a:lnTo>
                      <a:pt x="242" y="146"/>
                    </a:lnTo>
                    <a:lnTo>
                      <a:pt x="236" y="149"/>
                    </a:lnTo>
                    <a:lnTo>
                      <a:pt x="233" y="151"/>
                    </a:lnTo>
                    <a:lnTo>
                      <a:pt x="230" y="155"/>
                    </a:lnTo>
                    <a:lnTo>
                      <a:pt x="226" y="153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4" name="Line 9">
                <a:extLst>
                  <a:ext uri="{FF2B5EF4-FFF2-40B4-BE49-F238E27FC236}">
                    <a16:creationId xmlns:a16="http://schemas.microsoft.com/office/drawing/2014/main" id="{6147E746-4DC8-DAD7-E868-4C4892FD71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00713" y="18319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5" name="Freeform 10">
                <a:extLst>
                  <a:ext uri="{FF2B5EF4-FFF2-40B4-BE49-F238E27FC236}">
                    <a16:creationId xmlns:a16="http://schemas.microsoft.com/office/drawing/2014/main" id="{88E19770-0627-1BA3-6F0E-6D5327D8D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7850" y="1831975"/>
                <a:ext cx="0" cy="4762"/>
              </a:xfrm>
              <a:custGeom>
                <a:avLst/>
                <a:gdLst>
                  <a:gd name="T0" fmla="*/ 0 h 3"/>
                  <a:gd name="T1" fmla="*/ 3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6" name="Freeform 11">
                <a:extLst>
                  <a:ext uri="{FF2B5EF4-FFF2-40B4-BE49-F238E27FC236}">
                    <a16:creationId xmlns:a16="http://schemas.microsoft.com/office/drawing/2014/main" id="{396AF3E2-7D80-CC62-BB24-85CC0DB54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1038" y="1298575"/>
                <a:ext cx="4762" cy="11112"/>
              </a:xfrm>
              <a:custGeom>
                <a:avLst/>
                <a:gdLst>
                  <a:gd name="T0" fmla="*/ 0 w 3"/>
                  <a:gd name="T1" fmla="*/ 5 h 7"/>
                  <a:gd name="T2" fmla="*/ 0 w 3"/>
                  <a:gd name="T3" fmla="*/ 0 h 7"/>
                  <a:gd name="T4" fmla="*/ 3 w 3"/>
                  <a:gd name="T5" fmla="*/ 3 h 7"/>
                  <a:gd name="T6" fmla="*/ 3 w 3"/>
                  <a:gd name="T7" fmla="*/ 7 h 7"/>
                  <a:gd name="T8" fmla="*/ 0 w 3"/>
                  <a:gd name="T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0" y="5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7" name="Freeform 12">
                <a:extLst>
                  <a:ext uri="{FF2B5EF4-FFF2-40B4-BE49-F238E27FC236}">
                    <a16:creationId xmlns:a16="http://schemas.microsoft.com/office/drawing/2014/main" id="{883024AF-A402-0B68-CE98-C1A3E257B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6888" y="927100"/>
                <a:ext cx="1163637" cy="1095375"/>
              </a:xfrm>
              <a:custGeom>
                <a:avLst/>
                <a:gdLst>
                  <a:gd name="T0" fmla="*/ 491 w 733"/>
                  <a:gd name="T1" fmla="*/ 237 h 690"/>
                  <a:gd name="T2" fmla="*/ 503 w 733"/>
                  <a:gd name="T3" fmla="*/ 290 h 690"/>
                  <a:gd name="T4" fmla="*/ 546 w 733"/>
                  <a:gd name="T5" fmla="*/ 278 h 690"/>
                  <a:gd name="T6" fmla="*/ 565 w 733"/>
                  <a:gd name="T7" fmla="*/ 304 h 690"/>
                  <a:gd name="T8" fmla="*/ 531 w 733"/>
                  <a:gd name="T9" fmla="*/ 390 h 690"/>
                  <a:gd name="T10" fmla="*/ 551 w 733"/>
                  <a:gd name="T11" fmla="*/ 426 h 690"/>
                  <a:gd name="T12" fmla="*/ 556 w 733"/>
                  <a:gd name="T13" fmla="*/ 465 h 690"/>
                  <a:gd name="T14" fmla="*/ 605 w 733"/>
                  <a:gd name="T15" fmla="*/ 495 h 690"/>
                  <a:gd name="T16" fmla="*/ 634 w 733"/>
                  <a:gd name="T17" fmla="*/ 533 h 690"/>
                  <a:gd name="T18" fmla="*/ 668 w 733"/>
                  <a:gd name="T19" fmla="*/ 538 h 690"/>
                  <a:gd name="T20" fmla="*/ 701 w 733"/>
                  <a:gd name="T21" fmla="*/ 565 h 690"/>
                  <a:gd name="T22" fmla="*/ 697 w 733"/>
                  <a:gd name="T23" fmla="*/ 585 h 690"/>
                  <a:gd name="T24" fmla="*/ 643 w 733"/>
                  <a:gd name="T25" fmla="*/ 583 h 690"/>
                  <a:gd name="T26" fmla="*/ 592 w 733"/>
                  <a:gd name="T27" fmla="*/ 599 h 690"/>
                  <a:gd name="T28" fmla="*/ 549 w 733"/>
                  <a:gd name="T29" fmla="*/ 583 h 690"/>
                  <a:gd name="T30" fmla="*/ 510 w 733"/>
                  <a:gd name="T31" fmla="*/ 605 h 690"/>
                  <a:gd name="T32" fmla="*/ 466 w 733"/>
                  <a:gd name="T33" fmla="*/ 587 h 690"/>
                  <a:gd name="T34" fmla="*/ 418 w 733"/>
                  <a:gd name="T35" fmla="*/ 563 h 690"/>
                  <a:gd name="T36" fmla="*/ 381 w 733"/>
                  <a:gd name="T37" fmla="*/ 549 h 690"/>
                  <a:gd name="T38" fmla="*/ 352 w 733"/>
                  <a:gd name="T39" fmla="*/ 529 h 690"/>
                  <a:gd name="T40" fmla="*/ 333 w 733"/>
                  <a:gd name="T41" fmla="*/ 555 h 690"/>
                  <a:gd name="T42" fmla="*/ 298 w 733"/>
                  <a:gd name="T43" fmla="*/ 553 h 690"/>
                  <a:gd name="T44" fmla="*/ 270 w 733"/>
                  <a:gd name="T45" fmla="*/ 541 h 690"/>
                  <a:gd name="T46" fmla="*/ 238 w 733"/>
                  <a:gd name="T47" fmla="*/ 544 h 690"/>
                  <a:gd name="T48" fmla="*/ 209 w 733"/>
                  <a:gd name="T49" fmla="*/ 587 h 690"/>
                  <a:gd name="T50" fmla="*/ 212 w 733"/>
                  <a:gd name="T51" fmla="*/ 633 h 690"/>
                  <a:gd name="T52" fmla="*/ 201 w 733"/>
                  <a:gd name="T53" fmla="*/ 690 h 690"/>
                  <a:gd name="T54" fmla="*/ 173 w 733"/>
                  <a:gd name="T55" fmla="*/ 663 h 690"/>
                  <a:gd name="T56" fmla="*/ 143 w 733"/>
                  <a:gd name="T57" fmla="*/ 627 h 690"/>
                  <a:gd name="T58" fmla="*/ 102 w 733"/>
                  <a:gd name="T59" fmla="*/ 580 h 690"/>
                  <a:gd name="T60" fmla="*/ 71 w 733"/>
                  <a:gd name="T61" fmla="*/ 570 h 690"/>
                  <a:gd name="T62" fmla="*/ 36 w 733"/>
                  <a:gd name="T63" fmla="*/ 556 h 690"/>
                  <a:gd name="T64" fmla="*/ 17 w 733"/>
                  <a:gd name="T65" fmla="*/ 509 h 690"/>
                  <a:gd name="T66" fmla="*/ 10 w 733"/>
                  <a:gd name="T67" fmla="*/ 488 h 690"/>
                  <a:gd name="T68" fmla="*/ 22 w 733"/>
                  <a:gd name="T69" fmla="*/ 454 h 690"/>
                  <a:gd name="T70" fmla="*/ 61 w 733"/>
                  <a:gd name="T71" fmla="*/ 461 h 690"/>
                  <a:gd name="T72" fmla="*/ 81 w 733"/>
                  <a:gd name="T73" fmla="*/ 427 h 690"/>
                  <a:gd name="T74" fmla="*/ 53 w 733"/>
                  <a:gd name="T75" fmla="*/ 383 h 690"/>
                  <a:gd name="T76" fmla="*/ 44 w 733"/>
                  <a:gd name="T77" fmla="*/ 346 h 690"/>
                  <a:gd name="T78" fmla="*/ 13 w 733"/>
                  <a:gd name="T79" fmla="*/ 300 h 690"/>
                  <a:gd name="T80" fmla="*/ 47 w 733"/>
                  <a:gd name="T81" fmla="*/ 231 h 690"/>
                  <a:gd name="T82" fmla="*/ 64 w 733"/>
                  <a:gd name="T83" fmla="*/ 188 h 690"/>
                  <a:gd name="T84" fmla="*/ 71 w 733"/>
                  <a:gd name="T85" fmla="*/ 231 h 690"/>
                  <a:gd name="T86" fmla="*/ 109 w 733"/>
                  <a:gd name="T87" fmla="*/ 271 h 690"/>
                  <a:gd name="T88" fmla="*/ 138 w 733"/>
                  <a:gd name="T89" fmla="*/ 271 h 690"/>
                  <a:gd name="T90" fmla="*/ 131 w 733"/>
                  <a:gd name="T91" fmla="*/ 226 h 690"/>
                  <a:gd name="T92" fmla="*/ 153 w 733"/>
                  <a:gd name="T93" fmla="*/ 180 h 690"/>
                  <a:gd name="T94" fmla="*/ 190 w 733"/>
                  <a:gd name="T95" fmla="*/ 127 h 690"/>
                  <a:gd name="T96" fmla="*/ 190 w 733"/>
                  <a:gd name="T97" fmla="*/ 78 h 690"/>
                  <a:gd name="T98" fmla="*/ 218 w 733"/>
                  <a:gd name="T99" fmla="*/ 56 h 690"/>
                  <a:gd name="T100" fmla="*/ 240 w 733"/>
                  <a:gd name="T101" fmla="*/ 90 h 690"/>
                  <a:gd name="T102" fmla="*/ 279 w 733"/>
                  <a:gd name="T103" fmla="*/ 125 h 690"/>
                  <a:gd name="T104" fmla="*/ 323 w 733"/>
                  <a:gd name="T105" fmla="*/ 102 h 690"/>
                  <a:gd name="T106" fmla="*/ 364 w 733"/>
                  <a:gd name="T107" fmla="*/ 110 h 690"/>
                  <a:gd name="T108" fmla="*/ 400 w 733"/>
                  <a:gd name="T109" fmla="*/ 146 h 690"/>
                  <a:gd name="T110" fmla="*/ 401 w 733"/>
                  <a:gd name="T111" fmla="*/ 90 h 690"/>
                  <a:gd name="T112" fmla="*/ 381 w 733"/>
                  <a:gd name="T113" fmla="*/ 61 h 690"/>
                  <a:gd name="T114" fmla="*/ 400 w 733"/>
                  <a:gd name="T115" fmla="*/ 12 h 690"/>
                  <a:gd name="T116" fmla="*/ 430 w 733"/>
                  <a:gd name="T117" fmla="*/ 22 h 690"/>
                  <a:gd name="T118" fmla="*/ 486 w 733"/>
                  <a:gd name="T119" fmla="*/ 49 h 690"/>
                  <a:gd name="T120" fmla="*/ 517 w 733"/>
                  <a:gd name="T121" fmla="*/ 88 h 690"/>
                  <a:gd name="T122" fmla="*/ 510 w 733"/>
                  <a:gd name="T123" fmla="*/ 129 h 690"/>
                  <a:gd name="T124" fmla="*/ 498 w 733"/>
                  <a:gd name="T125" fmla="*/ 192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33" h="690">
                    <a:moveTo>
                      <a:pt x="497" y="195"/>
                    </a:moveTo>
                    <a:lnTo>
                      <a:pt x="493" y="197"/>
                    </a:lnTo>
                    <a:lnTo>
                      <a:pt x="490" y="200"/>
                    </a:lnTo>
                    <a:lnTo>
                      <a:pt x="488" y="205"/>
                    </a:lnTo>
                    <a:lnTo>
                      <a:pt x="490" y="212"/>
                    </a:lnTo>
                    <a:lnTo>
                      <a:pt x="486" y="215"/>
                    </a:lnTo>
                    <a:lnTo>
                      <a:pt x="483" y="220"/>
                    </a:lnTo>
                    <a:lnTo>
                      <a:pt x="483" y="224"/>
                    </a:lnTo>
                    <a:lnTo>
                      <a:pt x="483" y="227"/>
                    </a:lnTo>
                    <a:lnTo>
                      <a:pt x="481" y="231"/>
                    </a:lnTo>
                    <a:lnTo>
                      <a:pt x="486" y="232"/>
                    </a:lnTo>
                    <a:lnTo>
                      <a:pt x="490" y="234"/>
                    </a:lnTo>
                    <a:lnTo>
                      <a:pt x="491" y="237"/>
                    </a:lnTo>
                    <a:lnTo>
                      <a:pt x="490" y="241"/>
                    </a:lnTo>
                    <a:lnTo>
                      <a:pt x="491" y="246"/>
                    </a:lnTo>
                    <a:lnTo>
                      <a:pt x="497" y="249"/>
                    </a:lnTo>
                    <a:lnTo>
                      <a:pt x="497" y="256"/>
                    </a:lnTo>
                    <a:lnTo>
                      <a:pt x="491" y="263"/>
                    </a:lnTo>
                    <a:lnTo>
                      <a:pt x="495" y="268"/>
                    </a:lnTo>
                    <a:lnTo>
                      <a:pt x="495" y="271"/>
                    </a:lnTo>
                    <a:lnTo>
                      <a:pt x="497" y="278"/>
                    </a:lnTo>
                    <a:lnTo>
                      <a:pt x="495" y="282"/>
                    </a:lnTo>
                    <a:lnTo>
                      <a:pt x="497" y="285"/>
                    </a:lnTo>
                    <a:lnTo>
                      <a:pt x="500" y="283"/>
                    </a:lnTo>
                    <a:lnTo>
                      <a:pt x="505" y="285"/>
                    </a:lnTo>
                    <a:lnTo>
                      <a:pt x="503" y="290"/>
                    </a:lnTo>
                    <a:lnTo>
                      <a:pt x="503" y="293"/>
                    </a:lnTo>
                    <a:lnTo>
                      <a:pt x="503" y="297"/>
                    </a:lnTo>
                    <a:lnTo>
                      <a:pt x="507" y="298"/>
                    </a:lnTo>
                    <a:lnTo>
                      <a:pt x="510" y="298"/>
                    </a:lnTo>
                    <a:lnTo>
                      <a:pt x="515" y="297"/>
                    </a:lnTo>
                    <a:lnTo>
                      <a:pt x="517" y="293"/>
                    </a:lnTo>
                    <a:lnTo>
                      <a:pt x="522" y="292"/>
                    </a:lnTo>
                    <a:lnTo>
                      <a:pt x="527" y="290"/>
                    </a:lnTo>
                    <a:lnTo>
                      <a:pt x="532" y="288"/>
                    </a:lnTo>
                    <a:lnTo>
                      <a:pt x="532" y="282"/>
                    </a:lnTo>
                    <a:lnTo>
                      <a:pt x="537" y="282"/>
                    </a:lnTo>
                    <a:lnTo>
                      <a:pt x="541" y="280"/>
                    </a:lnTo>
                    <a:lnTo>
                      <a:pt x="546" y="278"/>
                    </a:lnTo>
                    <a:lnTo>
                      <a:pt x="549" y="278"/>
                    </a:lnTo>
                    <a:lnTo>
                      <a:pt x="553" y="276"/>
                    </a:lnTo>
                    <a:lnTo>
                      <a:pt x="556" y="278"/>
                    </a:lnTo>
                    <a:lnTo>
                      <a:pt x="560" y="278"/>
                    </a:lnTo>
                    <a:lnTo>
                      <a:pt x="565" y="278"/>
                    </a:lnTo>
                    <a:lnTo>
                      <a:pt x="568" y="278"/>
                    </a:lnTo>
                    <a:lnTo>
                      <a:pt x="575" y="278"/>
                    </a:lnTo>
                    <a:lnTo>
                      <a:pt x="578" y="280"/>
                    </a:lnTo>
                    <a:lnTo>
                      <a:pt x="577" y="285"/>
                    </a:lnTo>
                    <a:lnTo>
                      <a:pt x="573" y="288"/>
                    </a:lnTo>
                    <a:lnTo>
                      <a:pt x="571" y="293"/>
                    </a:lnTo>
                    <a:lnTo>
                      <a:pt x="568" y="300"/>
                    </a:lnTo>
                    <a:lnTo>
                      <a:pt x="565" y="304"/>
                    </a:lnTo>
                    <a:lnTo>
                      <a:pt x="561" y="309"/>
                    </a:lnTo>
                    <a:lnTo>
                      <a:pt x="560" y="312"/>
                    </a:lnTo>
                    <a:lnTo>
                      <a:pt x="556" y="319"/>
                    </a:lnTo>
                    <a:lnTo>
                      <a:pt x="554" y="324"/>
                    </a:lnTo>
                    <a:lnTo>
                      <a:pt x="549" y="331"/>
                    </a:lnTo>
                    <a:lnTo>
                      <a:pt x="546" y="336"/>
                    </a:lnTo>
                    <a:lnTo>
                      <a:pt x="543" y="341"/>
                    </a:lnTo>
                    <a:lnTo>
                      <a:pt x="529" y="360"/>
                    </a:lnTo>
                    <a:lnTo>
                      <a:pt x="527" y="365"/>
                    </a:lnTo>
                    <a:lnTo>
                      <a:pt x="529" y="370"/>
                    </a:lnTo>
                    <a:lnTo>
                      <a:pt x="529" y="373"/>
                    </a:lnTo>
                    <a:lnTo>
                      <a:pt x="531" y="385"/>
                    </a:lnTo>
                    <a:lnTo>
                      <a:pt x="531" y="390"/>
                    </a:lnTo>
                    <a:lnTo>
                      <a:pt x="531" y="395"/>
                    </a:lnTo>
                    <a:lnTo>
                      <a:pt x="532" y="404"/>
                    </a:lnTo>
                    <a:lnTo>
                      <a:pt x="532" y="407"/>
                    </a:lnTo>
                    <a:lnTo>
                      <a:pt x="532" y="414"/>
                    </a:lnTo>
                    <a:lnTo>
                      <a:pt x="532" y="417"/>
                    </a:lnTo>
                    <a:lnTo>
                      <a:pt x="529" y="417"/>
                    </a:lnTo>
                    <a:lnTo>
                      <a:pt x="532" y="417"/>
                    </a:lnTo>
                    <a:lnTo>
                      <a:pt x="534" y="424"/>
                    </a:lnTo>
                    <a:lnTo>
                      <a:pt x="532" y="427"/>
                    </a:lnTo>
                    <a:lnTo>
                      <a:pt x="537" y="424"/>
                    </a:lnTo>
                    <a:lnTo>
                      <a:pt x="543" y="424"/>
                    </a:lnTo>
                    <a:lnTo>
                      <a:pt x="546" y="424"/>
                    </a:lnTo>
                    <a:lnTo>
                      <a:pt x="551" y="426"/>
                    </a:lnTo>
                    <a:lnTo>
                      <a:pt x="551" y="431"/>
                    </a:lnTo>
                    <a:lnTo>
                      <a:pt x="551" y="434"/>
                    </a:lnTo>
                    <a:lnTo>
                      <a:pt x="549" y="438"/>
                    </a:lnTo>
                    <a:lnTo>
                      <a:pt x="548" y="441"/>
                    </a:lnTo>
                    <a:lnTo>
                      <a:pt x="551" y="444"/>
                    </a:lnTo>
                    <a:lnTo>
                      <a:pt x="548" y="448"/>
                    </a:lnTo>
                    <a:lnTo>
                      <a:pt x="544" y="449"/>
                    </a:lnTo>
                    <a:lnTo>
                      <a:pt x="544" y="453"/>
                    </a:lnTo>
                    <a:lnTo>
                      <a:pt x="548" y="454"/>
                    </a:lnTo>
                    <a:lnTo>
                      <a:pt x="551" y="456"/>
                    </a:lnTo>
                    <a:lnTo>
                      <a:pt x="551" y="460"/>
                    </a:lnTo>
                    <a:lnTo>
                      <a:pt x="554" y="461"/>
                    </a:lnTo>
                    <a:lnTo>
                      <a:pt x="556" y="465"/>
                    </a:lnTo>
                    <a:lnTo>
                      <a:pt x="554" y="470"/>
                    </a:lnTo>
                    <a:lnTo>
                      <a:pt x="560" y="470"/>
                    </a:lnTo>
                    <a:lnTo>
                      <a:pt x="568" y="461"/>
                    </a:lnTo>
                    <a:lnTo>
                      <a:pt x="577" y="470"/>
                    </a:lnTo>
                    <a:lnTo>
                      <a:pt x="582" y="475"/>
                    </a:lnTo>
                    <a:lnTo>
                      <a:pt x="585" y="482"/>
                    </a:lnTo>
                    <a:lnTo>
                      <a:pt x="588" y="483"/>
                    </a:lnTo>
                    <a:lnTo>
                      <a:pt x="594" y="485"/>
                    </a:lnTo>
                    <a:lnTo>
                      <a:pt x="597" y="485"/>
                    </a:lnTo>
                    <a:lnTo>
                      <a:pt x="599" y="488"/>
                    </a:lnTo>
                    <a:lnTo>
                      <a:pt x="604" y="490"/>
                    </a:lnTo>
                    <a:lnTo>
                      <a:pt x="607" y="490"/>
                    </a:lnTo>
                    <a:lnTo>
                      <a:pt x="605" y="495"/>
                    </a:lnTo>
                    <a:lnTo>
                      <a:pt x="609" y="499"/>
                    </a:lnTo>
                    <a:lnTo>
                      <a:pt x="614" y="499"/>
                    </a:lnTo>
                    <a:lnTo>
                      <a:pt x="619" y="502"/>
                    </a:lnTo>
                    <a:lnTo>
                      <a:pt x="622" y="505"/>
                    </a:lnTo>
                    <a:lnTo>
                      <a:pt x="622" y="512"/>
                    </a:lnTo>
                    <a:lnTo>
                      <a:pt x="622" y="516"/>
                    </a:lnTo>
                    <a:lnTo>
                      <a:pt x="626" y="519"/>
                    </a:lnTo>
                    <a:lnTo>
                      <a:pt x="629" y="516"/>
                    </a:lnTo>
                    <a:lnTo>
                      <a:pt x="636" y="517"/>
                    </a:lnTo>
                    <a:lnTo>
                      <a:pt x="634" y="521"/>
                    </a:lnTo>
                    <a:lnTo>
                      <a:pt x="634" y="526"/>
                    </a:lnTo>
                    <a:lnTo>
                      <a:pt x="631" y="529"/>
                    </a:lnTo>
                    <a:lnTo>
                      <a:pt x="634" y="533"/>
                    </a:lnTo>
                    <a:lnTo>
                      <a:pt x="643" y="536"/>
                    </a:lnTo>
                    <a:lnTo>
                      <a:pt x="646" y="536"/>
                    </a:lnTo>
                    <a:lnTo>
                      <a:pt x="648" y="533"/>
                    </a:lnTo>
                    <a:lnTo>
                      <a:pt x="653" y="534"/>
                    </a:lnTo>
                    <a:lnTo>
                      <a:pt x="656" y="534"/>
                    </a:lnTo>
                    <a:lnTo>
                      <a:pt x="658" y="529"/>
                    </a:lnTo>
                    <a:lnTo>
                      <a:pt x="660" y="526"/>
                    </a:lnTo>
                    <a:lnTo>
                      <a:pt x="663" y="529"/>
                    </a:lnTo>
                    <a:lnTo>
                      <a:pt x="667" y="529"/>
                    </a:lnTo>
                    <a:lnTo>
                      <a:pt x="670" y="533"/>
                    </a:lnTo>
                    <a:lnTo>
                      <a:pt x="675" y="531"/>
                    </a:lnTo>
                    <a:lnTo>
                      <a:pt x="672" y="534"/>
                    </a:lnTo>
                    <a:lnTo>
                      <a:pt x="668" y="538"/>
                    </a:lnTo>
                    <a:lnTo>
                      <a:pt x="670" y="543"/>
                    </a:lnTo>
                    <a:lnTo>
                      <a:pt x="668" y="546"/>
                    </a:lnTo>
                    <a:lnTo>
                      <a:pt x="672" y="549"/>
                    </a:lnTo>
                    <a:lnTo>
                      <a:pt x="677" y="549"/>
                    </a:lnTo>
                    <a:lnTo>
                      <a:pt x="680" y="553"/>
                    </a:lnTo>
                    <a:lnTo>
                      <a:pt x="684" y="555"/>
                    </a:lnTo>
                    <a:lnTo>
                      <a:pt x="687" y="553"/>
                    </a:lnTo>
                    <a:lnTo>
                      <a:pt x="691" y="551"/>
                    </a:lnTo>
                    <a:lnTo>
                      <a:pt x="692" y="555"/>
                    </a:lnTo>
                    <a:lnTo>
                      <a:pt x="691" y="558"/>
                    </a:lnTo>
                    <a:lnTo>
                      <a:pt x="694" y="561"/>
                    </a:lnTo>
                    <a:lnTo>
                      <a:pt x="697" y="565"/>
                    </a:lnTo>
                    <a:lnTo>
                      <a:pt x="701" y="565"/>
                    </a:lnTo>
                    <a:lnTo>
                      <a:pt x="706" y="570"/>
                    </a:lnTo>
                    <a:lnTo>
                      <a:pt x="709" y="573"/>
                    </a:lnTo>
                    <a:lnTo>
                      <a:pt x="721" y="578"/>
                    </a:lnTo>
                    <a:lnTo>
                      <a:pt x="726" y="580"/>
                    </a:lnTo>
                    <a:lnTo>
                      <a:pt x="730" y="580"/>
                    </a:lnTo>
                    <a:lnTo>
                      <a:pt x="733" y="583"/>
                    </a:lnTo>
                    <a:lnTo>
                      <a:pt x="728" y="587"/>
                    </a:lnTo>
                    <a:lnTo>
                      <a:pt x="721" y="583"/>
                    </a:lnTo>
                    <a:lnTo>
                      <a:pt x="716" y="585"/>
                    </a:lnTo>
                    <a:lnTo>
                      <a:pt x="711" y="585"/>
                    </a:lnTo>
                    <a:lnTo>
                      <a:pt x="706" y="583"/>
                    </a:lnTo>
                    <a:lnTo>
                      <a:pt x="702" y="583"/>
                    </a:lnTo>
                    <a:lnTo>
                      <a:pt x="697" y="585"/>
                    </a:lnTo>
                    <a:lnTo>
                      <a:pt x="694" y="590"/>
                    </a:lnTo>
                    <a:lnTo>
                      <a:pt x="691" y="588"/>
                    </a:lnTo>
                    <a:lnTo>
                      <a:pt x="687" y="587"/>
                    </a:lnTo>
                    <a:lnTo>
                      <a:pt x="684" y="590"/>
                    </a:lnTo>
                    <a:lnTo>
                      <a:pt x="680" y="590"/>
                    </a:lnTo>
                    <a:lnTo>
                      <a:pt x="677" y="592"/>
                    </a:lnTo>
                    <a:lnTo>
                      <a:pt x="670" y="592"/>
                    </a:lnTo>
                    <a:lnTo>
                      <a:pt x="665" y="594"/>
                    </a:lnTo>
                    <a:lnTo>
                      <a:pt x="662" y="594"/>
                    </a:lnTo>
                    <a:lnTo>
                      <a:pt x="658" y="590"/>
                    </a:lnTo>
                    <a:lnTo>
                      <a:pt x="651" y="585"/>
                    </a:lnTo>
                    <a:lnTo>
                      <a:pt x="648" y="585"/>
                    </a:lnTo>
                    <a:lnTo>
                      <a:pt x="643" y="583"/>
                    </a:lnTo>
                    <a:lnTo>
                      <a:pt x="641" y="588"/>
                    </a:lnTo>
                    <a:lnTo>
                      <a:pt x="636" y="588"/>
                    </a:lnTo>
                    <a:lnTo>
                      <a:pt x="633" y="588"/>
                    </a:lnTo>
                    <a:lnTo>
                      <a:pt x="629" y="588"/>
                    </a:lnTo>
                    <a:lnTo>
                      <a:pt x="626" y="587"/>
                    </a:lnTo>
                    <a:lnTo>
                      <a:pt x="622" y="590"/>
                    </a:lnTo>
                    <a:lnTo>
                      <a:pt x="617" y="595"/>
                    </a:lnTo>
                    <a:lnTo>
                      <a:pt x="614" y="595"/>
                    </a:lnTo>
                    <a:lnTo>
                      <a:pt x="611" y="600"/>
                    </a:lnTo>
                    <a:lnTo>
                      <a:pt x="605" y="599"/>
                    </a:lnTo>
                    <a:lnTo>
                      <a:pt x="599" y="602"/>
                    </a:lnTo>
                    <a:lnTo>
                      <a:pt x="595" y="602"/>
                    </a:lnTo>
                    <a:lnTo>
                      <a:pt x="592" y="599"/>
                    </a:lnTo>
                    <a:lnTo>
                      <a:pt x="588" y="599"/>
                    </a:lnTo>
                    <a:lnTo>
                      <a:pt x="578" y="595"/>
                    </a:lnTo>
                    <a:lnTo>
                      <a:pt x="571" y="594"/>
                    </a:lnTo>
                    <a:lnTo>
                      <a:pt x="566" y="592"/>
                    </a:lnTo>
                    <a:lnTo>
                      <a:pt x="563" y="592"/>
                    </a:lnTo>
                    <a:lnTo>
                      <a:pt x="563" y="587"/>
                    </a:lnTo>
                    <a:lnTo>
                      <a:pt x="561" y="583"/>
                    </a:lnTo>
                    <a:lnTo>
                      <a:pt x="560" y="578"/>
                    </a:lnTo>
                    <a:lnTo>
                      <a:pt x="556" y="577"/>
                    </a:lnTo>
                    <a:lnTo>
                      <a:pt x="553" y="580"/>
                    </a:lnTo>
                    <a:lnTo>
                      <a:pt x="553" y="583"/>
                    </a:lnTo>
                    <a:lnTo>
                      <a:pt x="549" y="587"/>
                    </a:lnTo>
                    <a:lnTo>
                      <a:pt x="549" y="583"/>
                    </a:lnTo>
                    <a:lnTo>
                      <a:pt x="548" y="578"/>
                    </a:lnTo>
                    <a:lnTo>
                      <a:pt x="544" y="582"/>
                    </a:lnTo>
                    <a:lnTo>
                      <a:pt x="541" y="585"/>
                    </a:lnTo>
                    <a:lnTo>
                      <a:pt x="539" y="588"/>
                    </a:lnTo>
                    <a:lnTo>
                      <a:pt x="537" y="592"/>
                    </a:lnTo>
                    <a:lnTo>
                      <a:pt x="536" y="595"/>
                    </a:lnTo>
                    <a:lnTo>
                      <a:pt x="534" y="599"/>
                    </a:lnTo>
                    <a:lnTo>
                      <a:pt x="529" y="600"/>
                    </a:lnTo>
                    <a:lnTo>
                      <a:pt x="525" y="604"/>
                    </a:lnTo>
                    <a:lnTo>
                      <a:pt x="520" y="604"/>
                    </a:lnTo>
                    <a:lnTo>
                      <a:pt x="517" y="607"/>
                    </a:lnTo>
                    <a:lnTo>
                      <a:pt x="514" y="605"/>
                    </a:lnTo>
                    <a:lnTo>
                      <a:pt x="510" y="605"/>
                    </a:lnTo>
                    <a:lnTo>
                      <a:pt x="505" y="605"/>
                    </a:lnTo>
                    <a:lnTo>
                      <a:pt x="502" y="602"/>
                    </a:lnTo>
                    <a:lnTo>
                      <a:pt x="498" y="600"/>
                    </a:lnTo>
                    <a:lnTo>
                      <a:pt x="493" y="597"/>
                    </a:lnTo>
                    <a:lnTo>
                      <a:pt x="488" y="595"/>
                    </a:lnTo>
                    <a:lnTo>
                      <a:pt x="485" y="595"/>
                    </a:lnTo>
                    <a:lnTo>
                      <a:pt x="483" y="592"/>
                    </a:lnTo>
                    <a:lnTo>
                      <a:pt x="481" y="587"/>
                    </a:lnTo>
                    <a:lnTo>
                      <a:pt x="480" y="583"/>
                    </a:lnTo>
                    <a:lnTo>
                      <a:pt x="476" y="580"/>
                    </a:lnTo>
                    <a:lnTo>
                      <a:pt x="473" y="580"/>
                    </a:lnTo>
                    <a:lnTo>
                      <a:pt x="469" y="583"/>
                    </a:lnTo>
                    <a:lnTo>
                      <a:pt x="466" y="587"/>
                    </a:lnTo>
                    <a:lnTo>
                      <a:pt x="463" y="587"/>
                    </a:lnTo>
                    <a:lnTo>
                      <a:pt x="459" y="583"/>
                    </a:lnTo>
                    <a:lnTo>
                      <a:pt x="456" y="582"/>
                    </a:lnTo>
                    <a:lnTo>
                      <a:pt x="452" y="580"/>
                    </a:lnTo>
                    <a:lnTo>
                      <a:pt x="452" y="577"/>
                    </a:lnTo>
                    <a:lnTo>
                      <a:pt x="449" y="575"/>
                    </a:lnTo>
                    <a:lnTo>
                      <a:pt x="444" y="577"/>
                    </a:lnTo>
                    <a:lnTo>
                      <a:pt x="440" y="572"/>
                    </a:lnTo>
                    <a:lnTo>
                      <a:pt x="437" y="568"/>
                    </a:lnTo>
                    <a:lnTo>
                      <a:pt x="430" y="565"/>
                    </a:lnTo>
                    <a:lnTo>
                      <a:pt x="427" y="565"/>
                    </a:lnTo>
                    <a:lnTo>
                      <a:pt x="423" y="566"/>
                    </a:lnTo>
                    <a:lnTo>
                      <a:pt x="418" y="563"/>
                    </a:lnTo>
                    <a:lnTo>
                      <a:pt x="417" y="560"/>
                    </a:lnTo>
                    <a:lnTo>
                      <a:pt x="412" y="563"/>
                    </a:lnTo>
                    <a:lnTo>
                      <a:pt x="408" y="565"/>
                    </a:lnTo>
                    <a:lnTo>
                      <a:pt x="405" y="566"/>
                    </a:lnTo>
                    <a:lnTo>
                      <a:pt x="398" y="568"/>
                    </a:lnTo>
                    <a:lnTo>
                      <a:pt x="396" y="565"/>
                    </a:lnTo>
                    <a:lnTo>
                      <a:pt x="396" y="560"/>
                    </a:lnTo>
                    <a:lnTo>
                      <a:pt x="391" y="561"/>
                    </a:lnTo>
                    <a:lnTo>
                      <a:pt x="388" y="561"/>
                    </a:lnTo>
                    <a:lnTo>
                      <a:pt x="388" y="558"/>
                    </a:lnTo>
                    <a:lnTo>
                      <a:pt x="386" y="555"/>
                    </a:lnTo>
                    <a:lnTo>
                      <a:pt x="383" y="553"/>
                    </a:lnTo>
                    <a:lnTo>
                      <a:pt x="381" y="549"/>
                    </a:lnTo>
                    <a:lnTo>
                      <a:pt x="383" y="546"/>
                    </a:lnTo>
                    <a:lnTo>
                      <a:pt x="381" y="543"/>
                    </a:lnTo>
                    <a:lnTo>
                      <a:pt x="377" y="539"/>
                    </a:lnTo>
                    <a:lnTo>
                      <a:pt x="376" y="534"/>
                    </a:lnTo>
                    <a:lnTo>
                      <a:pt x="372" y="531"/>
                    </a:lnTo>
                    <a:lnTo>
                      <a:pt x="369" y="529"/>
                    </a:lnTo>
                    <a:lnTo>
                      <a:pt x="366" y="533"/>
                    </a:lnTo>
                    <a:lnTo>
                      <a:pt x="359" y="539"/>
                    </a:lnTo>
                    <a:lnTo>
                      <a:pt x="355" y="541"/>
                    </a:lnTo>
                    <a:lnTo>
                      <a:pt x="354" y="538"/>
                    </a:lnTo>
                    <a:lnTo>
                      <a:pt x="357" y="533"/>
                    </a:lnTo>
                    <a:lnTo>
                      <a:pt x="355" y="529"/>
                    </a:lnTo>
                    <a:lnTo>
                      <a:pt x="352" y="529"/>
                    </a:lnTo>
                    <a:lnTo>
                      <a:pt x="347" y="531"/>
                    </a:lnTo>
                    <a:lnTo>
                      <a:pt x="343" y="533"/>
                    </a:lnTo>
                    <a:lnTo>
                      <a:pt x="343" y="538"/>
                    </a:lnTo>
                    <a:lnTo>
                      <a:pt x="347" y="541"/>
                    </a:lnTo>
                    <a:lnTo>
                      <a:pt x="350" y="546"/>
                    </a:lnTo>
                    <a:lnTo>
                      <a:pt x="349" y="549"/>
                    </a:lnTo>
                    <a:lnTo>
                      <a:pt x="345" y="549"/>
                    </a:lnTo>
                    <a:lnTo>
                      <a:pt x="342" y="546"/>
                    </a:lnTo>
                    <a:lnTo>
                      <a:pt x="340" y="543"/>
                    </a:lnTo>
                    <a:lnTo>
                      <a:pt x="335" y="543"/>
                    </a:lnTo>
                    <a:lnTo>
                      <a:pt x="333" y="548"/>
                    </a:lnTo>
                    <a:lnTo>
                      <a:pt x="333" y="551"/>
                    </a:lnTo>
                    <a:lnTo>
                      <a:pt x="333" y="555"/>
                    </a:lnTo>
                    <a:lnTo>
                      <a:pt x="330" y="558"/>
                    </a:lnTo>
                    <a:lnTo>
                      <a:pt x="330" y="553"/>
                    </a:lnTo>
                    <a:lnTo>
                      <a:pt x="328" y="549"/>
                    </a:lnTo>
                    <a:lnTo>
                      <a:pt x="325" y="548"/>
                    </a:lnTo>
                    <a:lnTo>
                      <a:pt x="320" y="546"/>
                    </a:lnTo>
                    <a:lnTo>
                      <a:pt x="318" y="541"/>
                    </a:lnTo>
                    <a:lnTo>
                      <a:pt x="315" y="538"/>
                    </a:lnTo>
                    <a:lnTo>
                      <a:pt x="311" y="543"/>
                    </a:lnTo>
                    <a:lnTo>
                      <a:pt x="313" y="546"/>
                    </a:lnTo>
                    <a:lnTo>
                      <a:pt x="313" y="549"/>
                    </a:lnTo>
                    <a:lnTo>
                      <a:pt x="308" y="553"/>
                    </a:lnTo>
                    <a:lnTo>
                      <a:pt x="306" y="556"/>
                    </a:lnTo>
                    <a:lnTo>
                      <a:pt x="298" y="553"/>
                    </a:lnTo>
                    <a:lnTo>
                      <a:pt x="294" y="549"/>
                    </a:lnTo>
                    <a:lnTo>
                      <a:pt x="291" y="549"/>
                    </a:lnTo>
                    <a:lnTo>
                      <a:pt x="287" y="549"/>
                    </a:lnTo>
                    <a:lnTo>
                      <a:pt x="284" y="548"/>
                    </a:lnTo>
                    <a:lnTo>
                      <a:pt x="282" y="544"/>
                    </a:lnTo>
                    <a:lnTo>
                      <a:pt x="284" y="541"/>
                    </a:lnTo>
                    <a:lnTo>
                      <a:pt x="284" y="538"/>
                    </a:lnTo>
                    <a:lnTo>
                      <a:pt x="284" y="534"/>
                    </a:lnTo>
                    <a:lnTo>
                      <a:pt x="281" y="531"/>
                    </a:lnTo>
                    <a:lnTo>
                      <a:pt x="279" y="534"/>
                    </a:lnTo>
                    <a:lnTo>
                      <a:pt x="279" y="538"/>
                    </a:lnTo>
                    <a:lnTo>
                      <a:pt x="274" y="541"/>
                    </a:lnTo>
                    <a:lnTo>
                      <a:pt x="270" y="541"/>
                    </a:lnTo>
                    <a:lnTo>
                      <a:pt x="267" y="539"/>
                    </a:lnTo>
                    <a:lnTo>
                      <a:pt x="265" y="536"/>
                    </a:lnTo>
                    <a:lnTo>
                      <a:pt x="264" y="531"/>
                    </a:lnTo>
                    <a:lnTo>
                      <a:pt x="258" y="533"/>
                    </a:lnTo>
                    <a:lnTo>
                      <a:pt x="260" y="539"/>
                    </a:lnTo>
                    <a:lnTo>
                      <a:pt x="262" y="544"/>
                    </a:lnTo>
                    <a:lnTo>
                      <a:pt x="262" y="548"/>
                    </a:lnTo>
                    <a:lnTo>
                      <a:pt x="257" y="549"/>
                    </a:lnTo>
                    <a:lnTo>
                      <a:pt x="255" y="546"/>
                    </a:lnTo>
                    <a:lnTo>
                      <a:pt x="252" y="543"/>
                    </a:lnTo>
                    <a:lnTo>
                      <a:pt x="248" y="541"/>
                    </a:lnTo>
                    <a:lnTo>
                      <a:pt x="243" y="543"/>
                    </a:lnTo>
                    <a:lnTo>
                      <a:pt x="238" y="544"/>
                    </a:lnTo>
                    <a:lnTo>
                      <a:pt x="235" y="544"/>
                    </a:lnTo>
                    <a:lnTo>
                      <a:pt x="235" y="549"/>
                    </a:lnTo>
                    <a:lnTo>
                      <a:pt x="231" y="548"/>
                    </a:lnTo>
                    <a:lnTo>
                      <a:pt x="226" y="553"/>
                    </a:lnTo>
                    <a:lnTo>
                      <a:pt x="223" y="555"/>
                    </a:lnTo>
                    <a:lnTo>
                      <a:pt x="218" y="561"/>
                    </a:lnTo>
                    <a:lnTo>
                      <a:pt x="218" y="565"/>
                    </a:lnTo>
                    <a:lnTo>
                      <a:pt x="218" y="570"/>
                    </a:lnTo>
                    <a:lnTo>
                      <a:pt x="218" y="573"/>
                    </a:lnTo>
                    <a:lnTo>
                      <a:pt x="216" y="577"/>
                    </a:lnTo>
                    <a:lnTo>
                      <a:pt x="212" y="578"/>
                    </a:lnTo>
                    <a:lnTo>
                      <a:pt x="211" y="583"/>
                    </a:lnTo>
                    <a:lnTo>
                      <a:pt x="209" y="587"/>
                    </a:lnTo>
                    <a:lnTo>
                      <a:pt x="209" y="590"/>
                    </a:lnTo>
                    <a:lnTo>
                      <a:pt x="206" y="595"/>
                    </a:lnTo>
                    <a:lnTo>
                      <a:pt x="204" y="600"/>
                    </a:lnTo>
                    <a:lnTo>
                      <a:pt x="201" y="600"/>
                    </a:lnTo>
                    <a:lnTo>
                      <a:pt x="197" y="604"/>
                    </a:lnTo>
                    <a:lnTo>
                      <a:pt x="197" y="609"/>
                    </a:lnTo>
                    <a:lnTo>
                      <a:pt x="194" y="614"/>
                    </a:lnTo>
                    <a:lnTo>
                      <a:pt x="199" y="616"/>
                    </a:lnTo>
                    <a:lnTo>
                      <a:pt x="199" y="621"/>
                    </a:lnTo>
                    <a:lnTo>
                      <a:pt x="202" y="621"/>
                    </a:lnTo>
                    <a:lnTo>
                      <a:pt x="207" y="622"/>
                    </a:lnTo>
                    <a:lnTo>
                      <a:pt x="211" y="624"/>
                    </a:lnTo>
                    <a:lnTo>
                      <a:pt x="212" y="633"/>
                    </a:lnTo>
                    <a:lnTo>
                      <a:pt x="214" y="639"/>
                    </a:lnTo>
                    <a:lnTo>
                      <a:pt x="214" y="643"/>
                    </a:lnTo>
                    <a:lnTo>
                      <a:pt x="211" y="646"/>
                    </a:lnTo>
                    <a:lnTo>
                      <a:pt x="207" y="648"/>
                    </a:lnTo>
                    <a:lnTo>
                      <a:pt x="204" y="653"/>
                    </a:lnTo>
                    <a:lnTo>
                      <a:pt x="199" y="658"/>
                    </a:lnTo>
                    <a:lnTo>
                      <a:pt x="197" y="661"/>
                    </a:lnTo>
                    <a:lnTo>
                      <a:pt x="204" y="668"/>
                    </a:lnTo>
                    <a:lnTo>
                      <a:pt x="207" y="670"/>
                    </a:lnTo>
                    <a:lnTo>
                      <a:pt x="207" y="675"/>
                    </a:lnTo>
                    <a:lnTo>
                      <a:pt x="202" y="682"/>
                    </a:lnTo>
                    <a:lnTo>
                      <a:pt x="204" y="685"/>
                    </a:lnTo>
                    <a:lnTo>
                      <a:pt x="201" y="690"/>
                    </a:lnTo>
                    <a:lnTo>
                      <a:pt x="195" y="689"/>
                    </a:lnTo>
                    <a:lnTo>
                      <a:pt x="190" y="690"/>
                    </a:lnTo>
                    <a:lnTo>
                      <a:pt x="189" y="687"/>
                    </a:lnTo>
                    <a:lnTo>
                      <a:pt x="185" y="680"/>
                    </a:lnTo>
                    <a:lnTo>
                      <a:pt x="185" y="687"/>
                    </a:lnTo>
                    <a:lnTo>
                      <a:pt x="180" y="689"/>
                    </a:lnTo>
                    <a:lnTo>
                      <a:pt x="177" y="689"/>
                    </a:lnTo>
                    <a:lnTo>
                      <a:pt x="177" y="682"/>
                    </a:lnTo>
                    <a:lnTo>
                      <a:pt x="177" y="677"/>
                    </a:lnTo>
                    <a:lnTo>
                      <a:pt x="177" y="673"/>
                    </a:lnTo>
                    <a:lnTo>
                      <a:pt x="178" y="668"/>
                    </a:lnTo>
                    <a:lnTo>
                      <a:pt x="178" y="665"/>
                    </a:lnTo>
                    <a:lnTo>
                      <a:pt x="173" y="663"/>
                    </a:lnTo>
                    <a:lnTo>
                      <a:pt x="170" y="660"/>
                    </a:lnTo>
                    <a:lnTo>
                      <a:pt x="168" y="656"/>
                    </a:lnTo>
                    <a:lnTo>
                      <a:pt x="168" y="650"/>
                    </a:lnTo>
                    <a:lnTo>
                      <a:pt x="165" y="646"/>
                    </a:lnTo>
                    <a:lnTo>
                      <a:pt x="161" y="644"/>
                    </a:lnTo>
                    <a:lnTo>
                      <a:pt x="158" y="646"/>
                    </a:lnTo>
                    <a:lnTo>
                      <a:pt x="155" y="646"/>
                    </a:lnTo>
                    <a:lnTo>
                      <a:pt x="150" y="641"/>
                    </a:lnTo>
                    <a:lnTo>
                      <a:pt x="146" y="643"/>
                    </a:lnTo>
                    <a:lnTo>
                      <a:pt x="143" y="638"/>
                    </a:lnTo>
                    <a:lnTo>
                      <a:pt x="139" y="634"/>
                    </a:lnTo>
                    <a:lnTo>
                      <a:pt x="138" y="631"/>
                    </a:lnTo>
                    <a:lnTo>
                      <a:pt x="143" y="627"/>
                    </a:lnTo>
                    <a:lnTo>
                      <a:pt x="141" y="621"/>
                    </a:lnTo>
                    <a:lnTo>
                      <a:pt x="139" y="617"/>
                    </a:lnTo>
                    <a:lnTo>
                      <a:pt x="136" y="617"/>
                    </a:lnTo>
                    <a:lnTo>
                      <a:pt x="131" y="614"/>
                    </a:lnTo>
                    <a:lnTo>
                      <a:pt x="127" y="612"/>
                    </a:lnTo>
                    <a:lnTo>
                      <a:pt x="122" y="604"/>
                    </a:lnTo>
                    <a:lnTo>
                      <a:pt x="121" y="600"/>
                    </a:lnTo>
                    <a:lnTo>
                      <a:pt x="119" y="592"/>
                    </a:lnTo>
                    <a:lnTo>
                      <a:pt x="119" y="588"/>
                    </a:lnTo>
                    <a:lnTo>
                      <a:pt x="116" y="583"/>
                    </a:lnTo>
                    <a:lnTo>
                      <a:pt x="110" y="582"/>
                    </a:lnTo>
                    <a:lnTo>
                      <a:pt x="107" y="583"/>
                    </a:lnTo>
                    <a:lnTo>
                      <a:pt x="102" y="580"/>
                    </a:lnTo>
                    <a:lnTo>
                      <a:pt x="100" y="575"/>
                    </a:lnTo>
                    <a:lnTo>
                      <a:pt x="100" y="572"/>
                    </a:lnTo>
                    <a:lnTo>
                      <a:pt x="102" y="566"/>
                    </a:lnTo>
                    <a:lnTo>
                      <a:pt x="98" y="563"/>
                    </a:lnTo>
                    <a:lnTo>
                      <a:pt x="100" y="560"/>
                    </a:lnTo>
                    <a:lnTo>
                      <a:pt x="95" y="560"/>
                    </a:lnTo>
                    <a:lnTo>
                      <a:pt x="90" y="560"/>
                    </a:lnTo>
                    <a:lnTo>
                      <a:pt x="87" y="560"/>
                    </a:lnTo>
                    <a:lnTo>
                      <a:pt x="83" y="563"/>
                    </a:lnTo>
                    <a:lnTo>
                      <a:pt x="78" y="565"/>
                    </a:lnTo>
                    <a:lnTo>
                      <a:pt x="75" y="565"/>
                    </a:lnTo>
                    <a:lnTo>
                      <a:pt x="75" y="568"/>
                    </a:lnTo>
                    <a:lnTo>
                      <a:pt x="71" y="570"/>
                    </a:lnTo>
                    <a:lnTo>
                      <a:pt x="68" y="575"/>
                    </a:lnTo>
                    <a:lnTo>
                      <a:pt x="64" y="573"/>
                    </a:lnTo>
                    <a:lnTo>
                      <a:pt x="63" y="570"/>
                    </a:lnTo>
                    <a:lnTo>
                      <a:pt x="58" y="570"/>
                    </a:lnTo>
                    <a:lnTo>
                      <a:pt x="54" y="565"/>
                    </a:lnTo>
                    <a:lnTo>
                      <a:pt x="51" y="566"/>
                    </a:lnTo>
                    <a:lnTo>
                      <a:pt x="46" y="568"/>
                    </a:lnTo>
                    <a:lnTo>
                      <a:pt x="42" y="568"/>
                    </a:lnTo>
                    <a:lnTo>
                      <a:pt x="39" y="572"/>
                    </a:lnTo>
                    <a:lnTo>
                      <a:pt x="39" y="566"/>
                    </a:lnTo>
                    <a:lnTo>
                      <a:pt x="34" y="563"/>
                    </a:lnTo>
                    <a:lnTo>
                      <a:pt x="37" y="560"/>
                    </a:lnTo>
                    <a:lnTo>
                      <a:pt x="36" y="556"/>
                    </a:lnTo>
                    <a:lnTo>
                      <a:pt x="37" y="551"/>
                    </a:lnTo>
                    <a:lnTo>
                      <a:pt x="32" y="546"/>
                    </a:lnTo>
                    <a:lnTo>
                      <a:pt x="30" y="543"/>
                    </a:lnTo>
                    <a:lnTo>
                      <a:pt x="27" y="539"/>
                    </a:lnTo>
                    <a:lnTo>
                      <a:pt x="27" y="536"/>
                    </a:lnTo>
                    <a:lnTo>
                      <a:pt x="27" y="533"/>
                    </a:lnTo>
                    <a:lnTo>
                      <a:pt x="24" y="533"/>
                    </a:lnTo>
                    <a:lnTo>
                      <a:pt x="22" y="527"/>
                    </a:lnTo>
                    <a:lnTo>
                      <a:pt x="20" y="524"/>
                    </a:lnTo>
                    <a:lnTo>
                      <a:pt x="15" y="522"/>
                    </a:lnTo>
                    <a:lnTo>
                      <a:pt x="12" y="519"/>
                    </a:lnTo>
                    <a:lnTo>
                      <a:pt x="12" y="514"/>
                    </a:lnTo>
                    <a:lnTo>
                      <a:pt x="17" y="509"/>
                    </a:lnTo>
                    <a:lnTo>
                      <a:pt x="20" y="507"/>
                    </a:lnTo>
                    <a:lnTo>
                      <a:pt x="13" y="505"/>
                    </a:lnTo>
                    <a:lnTo>
                      <a:pt x="12" y="509"/>
                    </a:lnTo>
                    <a:lnTo>
                      <a:pt x="8" y="509"/>
                    </a:lnTo>
                    <a:lnTo>
                      <a:pt x="12" y="505"/>
                    </a:lnTo>
                    <a:lnTo>
                      <a:pt x="10" y="502"/>
                    </a:lnTo>
                    <a:lnTo>
                      <a:pt x="7" y="500"/>
                    </a:lnTo>
                    <a:lnTo>
                      <a:pt x="10" y="497"/>
                    </a:lnTo>
                    <a:lnTo>
                      <a:pt x="10" y="494"/>
                    </a:lnTo>
                    <a:lnTo>
                      <a:pt x="13" y="494"/>
                    </a:lnTo>
                    <a:lnTo>
                      <a:pt x="10" y="492"/>
                    </a:lnTo>
                    <a:lnTo>
                      <a:pt x="7" y="492"/>
                    </a:lnTo>
                    <a:lnTo>
                      <a:pt x="10" y="488"/>
                    </a:lnTo>
                    <a:lnTo>
                      <a:pt x="10" y="485"/>
                    </a:lnTo>
                    <a:lnTo>
                      <a:pt x="10" y="482"/>
                    </a:lnTo>
                    <a:lnTo>
                      <a:pt x="7" y="482"/>
                    </a:lnTo>
                    <a:lnTo>
                      <a:pt x="5" y="477"/>
                    </a:lnTo>
                    <a:lnTo>
                      <a:pt x="0" y="475"/>
                    </a:lnTo>
                    <a:lnTo>
                      <a:pt x="3" y="470"/>
                    </a:lnTo>
                    <a:lnTo>
                      <a:pt x="7" y="468"/>
                    </a:lnTo>
                    <a:lnTo>
                      <a:pt x="10" y="466"/>
                    </a:lnTo>
                    <a:lnTo>
                      <a:pt x="8" y="460"/>
                    </a:lnTo>
                    <a:lnTo>
                      <a:pt x="10" y="456"/>
                    </a:lnTo>
                    <a:lnTo>
                      <a:pt x="13" y="453"/>
                    </a:lnTo>
                    <a:lnTo>
                      <a:pt x="17" y="454"/>
                    </a:lnTo>
                    <a:lnTo>
                      <a:pt x="22" y="454"/>
                    </a:lnTo>
                    <a:lnTo>
                      <a:pt x="25" y="454"/>
                    </a:lnTo>
                    <a:lnTo>
                      <a:pt x="29" y="454"/>
                    </a:lnTo>
                    <a:lnTo>
                      <a:pt x="32" y="454"/>
                    </a:lnTo>
                    <a:lnTo>
                      <a:pt x="34" y="458"/>
                    </a:lnTo>
                    <a:lnTo>
                      <a:pt x="39" y="463"/>
                    </a:lnTo>
                    <a:lnTo>
                      <a:pt x="41" y="468"/>
                    </a:lnTo>
                    <a:lnTo>
                      <a:pt x="41" y="473"/>
                    </a:lnTo>
                    <a:lnTo>
                      <a:pt x="44" y="475"/>
                    </a:lnTo>
                    <a:lnTo>
                      <a:pt x="49" y="475"/>
                    </a:lnTo>
                    <a:lnTo>
                      <a:pt x="54" y="471"/>
                    </a:lnTo>
                    <a:lnTo>
                      <a:pt x="56" y="466"/>
                    </a:lnTo>
                    <a:lnTo>
                      <a:pt x="58" y="461"/>
                    </a:lnTo>
                    <a:lnTo>
                      <a:pt x="61" y="461"/>
                    </a:lnTo>
                    <a:lnTo>
                      <a:pt x="63" y="458"/>
                    </a:lnTo>
                    <a:lnTo>
                      <a:pt x="64" y="453"/>
                    </a:lnTo>
                    <a:lnTo>
                      <a:pt x="61" y="453"/>
                    </a:lnTo>
                    <a:lnTo>
                      <a:pt x="56" y="448"/>
                    </a:lnTo>
                    <a:lnTo>
                      <a:pt x="59" y="446"/>
                    </a:lnTo>
                    <a:lnTo>
                      <a:pt x="64" y="446"/>
                    </a:lnTo>
                    <a:lnTo>
                      <a:pt x="66" y="441"/>
                    </a:lnTo>
                    <a:lnTo>
                      <a:pt x="73" y="444"/>
                    </a:lnTo>
                    <a:lnTo>
                      <a:pt x="78" y="444"/>
                    </a:lnTo>
                    <a:lnTo>
                      <a:pt x="81" y="441"/>
                    </a:lnTo>
                    <a:lnTo>
                      <a:pt x="85" y="439"/>
                    </a:lnTo>
                    <a:lnTo>
                      <a:pt x="83" y="432"/>
                    </a:lnTo>
                    <a:lnTo>
                      <a:pt x="81" y="427"/>
                    </a:lnTo>
                    <a:lnTo>
                      <a:pt x="78" y="426"/>
                    </a:lnTo>
                    <a:lnTo>
                      <a:pt x="78" y="421"/>
                    </a:lnTo>
                    <a:lnTo>
                      <a:pt x="75" y="417"/>
                    </a:lnTo>
                    <a:lnTo>
                      <a:pt x="73" y="414"/>
                    </a:lnTo>
                    <a:lnTo>
                      <a:pt x="73" y="410"/>
                    </a:lnTo>
                    <a:lnTo>
                      <a:pt x="70" y="407"/>
                    </a:lnTo>
                    <a:lnTo>
                      <a:pt x="66" y="404"/>
                    </a:lnTo>
                    <a:lnTo>
                      <a:pt x="63" y="404"/>
                    </a:lnTo>
                    <a:lnTo>
                      <a:pt x="58" y="400"/>
                    </a:lnTo>
                    <a:lnTo>
                      <a:pt x="54" y="395"/>
                    </a:lnTo>
                    <a:lnTo>
                      <a:pt x="56" y="392"/>
                    </a:lnTo>
                    <a:lnTo>
                      <a:pt x="54" y="387"/>
                    </a:lnTo>
                    <a:lnTo>
                      <a:pt x="53" y="383"/>
                    </a:lnTo>
                    <a:lnTo>
                      <a:pt x="53" y="378"/>
                    </a:lnTo>
                    <a:lnTo>
                      <a:pt x="49" y="375"/>
                    </a:lnTo>
                    <a:lnTo>
                      <a:pt x="51" y="371"/>
                    </a:lnTo>
                    <a:lnTo>
                      <a:pt x="51" y="366"/>
                    </a:lnTo>
                    <a:lnTo>
                      <a:pt x="47" y="365"/>
                    </a:lnTo>
                    <a:lnTo>
                      <a:pt x="47" y="361"/>
                    </a:lnTo>
                    <a:lnTo>
                      <a:pt x="42" y="360"/>
                    </a:lnTo>
                    <a:lnTo>
                      <a:pt x="42" y="356"/>
                    </a:lnTo>
                    <a:lnTo>
                      <a:pt x="41" y="353"/>
                    </a:lnTo>
                    <a:lnTo>
                      <a:pt x="44" y="354"/>
                    </a:lnTo>
                    <a:lnTo>
                      <a:pt x="47" y="353"/>
                    </a:lnTo>
                    <a:lnTo>
                      <a:pt x="47" y="349"/>
                    </a:lnTo>
                    <a:lnTo>
                      <a:pt x="44" y="346"/>
                    </a:lnTo>
                    <a:lnTo>
                      <a:pt x="46" y="343"/>
                    </a:lnTo>
                    <a:lnTo>
                      <a:pt x="42" y="341"/>
                    </a:lnTo>
                    <a:lnTo>
                      <a:pt x="39" y="341"/>
                    </a:lnTo>
                    <a:lnTo>
                      <a:pt x="36" y="337"/>
                    </a:lnTo>
                    <a:lnTo>
                      <a:pt x="39" y="329"/>
                    </a:lnTo>
                    <a:lnTo>
                      <a:pt x="37" y="326"/>
                    </a:lnTo>
                    <a:lnTo>
                      <a:pt x="34" y="324"/>
                    </a:lnTo>
                    <a:lnTo>
                      <a:pt x="27" y="322"/>
                    </a:lnTo>
                    <a:lnTo>
                      <a:pt x="24" y="319"/>
                    </a:lnTo>
                    <a:lnTo>
                      <a:pt x="22" y="315"/>
                    </a:lnTo>
                    <a:lnTo>
                      <a:pt x="20" y="312"/>
                    </a:lnTo>
                    <a:lnTo>
                      <a:pt x="17" y="309"/>
                    </a:lnTo>
                    <a:lnTo>
                      <a:pt x="13" y="300"/>
                    </a:lnTo>
                    <a:lnTo>
                      <a:pt x="15" y="297"/>
                    </a:lnTo>
                    <a:lnTo>
                      <a:pt x="19" y="293"/>
                    </a:lnTo>
                    <a:lnTo>
                      <a:pt x="22" y="292"/>
                    </a:lnTo>
                    <a:lnTo>
                      <a:pt x="24" y="288"/>
                    </a:lnTo>
                    <a:lnTo>
                      <a:pt x="25" y="283"/>
                    </a:lnTo>
                    <a:lnTo>
                      <a:pt x="24" y="278"/>
                    </a:lnTo>
                    <a:lnTo>
                      <a:pt x="22" y="273"/>
                    </a:lnTo>
                    <a:lnTo>
                      <a:pt x="20" y="268"/>
                    </a:lnTo>
                    <a:lnTo>
                      <a:pt x="19" y="263"/>
                    </a:lnTo>
                    <a:lnTo>
                      <a:pt x="24" y="254"/>
                    </a:lnTo>
                    <a:lnTo>
                      <a:pt x="29" y="249"/>
                    </a:lnTo>
                    <a:lnTo>
                      <a:pt x="41" y="237"/>
                    </a:lnTo>
                    <a:lnTo>
                      <a:pt x="47" y="231"/>
                    </a:lnTo>
                    <a:lnTo>
                      <a:pt x="51" y="227"/>
                    </a:lnTo>
                    <a:lnTo>
                      <a:pt x="54" y="224"/>
                    </a:lnTo>
                    <a:lnTo>
                      <a:pt x="58" y="220"/>
                    </a:lnTo>
                    <a:lnTo>
                      <a:pt x="58" y="217"/>
                    </a:lnTo>
                    <a:lnTo>
                      <a:pt x="58" y="214"/>
                    </a:lnTo>
                    <a:lnTo>
                      <a:pt x="56" y="209"/>
                    </a:lnTo>
                    <a:lnTo>
                      <a:pt x="54" y="203"/>
                    </a:lnTo>
                    <a:lnTo>
                      <a:pt x="54" y="200"/>
                    </a:lnTo>
                    <a:lnTo>
                      <a:pt x="53" y="197"/>
                    </a:lnTo>
                    <a:lnTo>
                      <a:pt x="54" y="193"/>
                    </a:lnTo>
                    <a:lnTo>
                      <a:pt x="58" y="188"/>
                    </a:lnTo>
                    <a:lnTo>
                      <a:pt x="61" y="183"/>
                    </a:lnTo>
                    <a:lnTo>
                      <a:pt x="64" y="188"/>
                    </a:lnTo>
                    <a:lnTo>
                      <a:pt x="71" y="193"/>
                    </a:lnTo>
                    <a:lnTo>
                      <a:pt x="75" y="193"/>
                    </a:lnTo>
                    <a:lnTo>
                      <a:pt x="80" y="192"/>
                    </a:lnTo>
                    <a:lnTo>
                      <a:pt x="83" y="197"/>
                    </a:lnTo>
                    <a:lnTo>
                      <a:pt x="88" y="200"/>
                    </a:lnTo>
                    <a:lnTo>
                      <a:pt x="88" y="205"/>
                    </a:lnTo>
                    <a:lnTo>
                      <a:pt x="87" y="210"/>
                    </a:lnTo>
                    <a:lnTo>
                      <a:pt x="83" y="212"/>
                    </a:lnTo>
                    <a:lnTo>
                      <a:pt x="81" y="215"/>
                    </a:lnTo>
                    <a:lnTo>
                      <a:pt x="78" y="217"/>
                    </a:lnTo>
                    <a:lnTo>
                      <a:pt x="75" y="222"/>
                    </a:lnTo>
                    <a:lnTo>
                      <a:pt x="73" y="227"/>
                    </a:lnTo>
                    <a:lnTo>
                      <a:pt x="71" y="231"/>
                    </a:lnTo>
                    <a:lnTo>
                      <a:pt x="80" y="231"/>
                    </a:lnTo>
                    <a:lnTo>
                      <a:pt x="83" y="231"/>
                    </a:lnTo>
                    <a:lnTo>
                      <a:pt x="88" y="236"/>
                    </a:lnTo>
                    <a:lnTo>
                      <a:pt x="92" y="241"/>
                    </a:lnTo>
                    <a:lnTo>
                      <a:pt x="95" y="241"/>
                    </a:lnTo>
                    <a:lnTo>
                      <a:pt x="98" y="243"/>
                    </a:lnTo>
                    <a:lnTo>
                      <a:pt x="100" y="246"/>
                    </a:lnTo>
                    <a:lnTo>
                      <a:pt x="98" y="249"/>
                    </a:lnTo>
                    <a:lnTo>
                      <a:pt x="102" y="254"/>
                    </a:lnTo>
                    <a:lnTo>
                      <a:pt x="105" y="259"/>
                    </a:lnTo>
                    <a:lnTo>
                      <a:pt x="105" y="263"/>
                    </a:lnTo>
                    <a:lnTo>
                      <a:pt x="109" y="266"/>
                    </a:lnTo>
                    <a:lnTo>
                      <a:pt x="109" y="271"/>
                    </a:lnTo>
                    <a:lnTo>
                      <a:pt x="109" y="275"/>
                    </a:lnTo>
                    <a:lnTo>
                      <a:pt x="105" y="280"/>
                    </a:lnTo>
                    <a:lnTo>
                      <a:pt x="104" y="287"/>
                    </a:lnTo>
                    <a:lnTo>
                      <a:pt x="107" y="285"/>
                    </a:lnTo>
                    <a:lnTo>
                      <a:pt x="112" y="282"/>
                    </a:lnTo>
                    <a:lnTo>
                      <a:pt x="117" y="285"/>
                    </a:lnTo>
                    <a:lnTo>
                      <a:pt x="122" y="283"/>
                    </a:lnTo>
                    <a:lnTo>
                      <a:pt x="124" y="287"/>
                    </a:lnTo>
                    <a:lnTo>
                      <a:pt x="129" y="290"/>
                    </a:lnTo>
                    <a:lnTo>
                      <a:pt x="134" y="285"/>
                    </a:lnTo>
                    <a:lnTo>
                      <a:pt x="134" y="282"/>
                    </a:lnTo>
                    <a:lnTo>
                      <a:pt x="136" y="275"/>
                    </a:lnTo>
                    <a:lnTo>
                      <a:pt x="138" y="271"/>
                    </a:lnTo>
                    <a:lnTo>
                      <a:pt x="144" y="266"/>
                    </a:lnTo>
                    <a:lnTo>
                      <a:pt x="146" y="261"/>
                    </a:lnTo>
                    <a:lnTo>
                      <a:pt x="144" y="258"/>
                    </a:lnTo>
                    <a:lnTo>
                      <a:pt x="138" y="254"/>
                    </a:lnTo>
                    <a:lnTo>
                      <a:pt x="133" y="253"/>
                    </a:lnTo>
                    <a:lnTo>
                      <a:pt x="129" y="251"/>
                    </a:lnTo>
                    <a:lnTo>
                      <a:pt x="129" y="248"/>
                    </a:lnTo>
                    <a:lnTo>
                      <a:pt x="129" y="244"/>
                    </a:lnTo>
                    <a:lnTo>
                      <a:pt x="129" y="241"/>
                    </a:lnTo>
                    <a:lnTo>
                      <a:pt x="126" y="239"/>
                    </a:lnTo>
                    <a:lnTo>
                      <a:pt x="126" y="234"/>
                    </a:lnTo>
                    <a:lnTo>
                      <a:pt x="131" y="229"/>
                    </a:lnTo>
                    <a:lnTo>
                      <a:pt x="131" y="226"/>
                    </a:lnTo>
                    <a:lnTo>
                      <a:pt x="131" y="220"/>
                    </a:lnTo>
                    <a:lnTo>
                      <a:pt x="127" y="217"/>
                    </a:lnTo>
                    <a:lnTo>
                      <a:pt x="127" y="214"/>
                    </a:lnTo>
                    <a:lnTo>
                      <a:pt x="129" y="209"/>
                    </a:lnTo>
                    <a:lnTo>
                      <a:pt x="134" y="205"/>
                    </a:lnTo>
                    <a:lnTo>
                      <a:pt x="139" y="203"/>
                    </a:lnTo>
                    <a:lnTo>
                      <a:pt x="143" y="203"/>
                    </a:lnTo>
                    <a:lnTo>
                      <a:pt x="144" y="200"/>
                    </a:lnTo>
                    <a:lnTo>
                      <a:pt x="146" y="197"/>
                    </a:lnTo>
                    <a:lnTo>
                      <a:pt x="144" y="188"/>
                    </a:lnTo>
                    <a:lnTo>
                      <a:pt x="143" y="185"/>
                    </a:lnTo>
                    <a:lnTo>
                      <a:pt x="150" y="181"/>
                    </a:lnTo>
                    <a:lnTo>
                      <a:pt x="153" y="180"/>
                    </a:lnTo>
                    <a:lnTo>
                      <a:pt x="156" y="175"/>
                    </a:lnTo>
                    <a:lnTo>
                      <a:pt x="160" y="171"/>
                    </a:lnTo>
                    <a:lnTo>
                      <a:pt x="163" y="166"/>
                    </a:lnTo>
                    <a:lnTo>
                      <a:pt x="168" y="166"/>
                    </a:lnTo>
                    <a:lnTo>
                      <a:pt x="172" y="163"/>
                    </a:lnTo>
                    <a:lnTo>
                      <a:pt x="173" y="159"/>
                    </a:lnTo>
                    <a:lnTo>
                      <a:pt x="173" y="153"/>
                    </a:lnTo>
                    <a:lnTo>
                      <a:pt x="177" y="153"/>
                    </a:lnTo>
                    <a:lnTo>
                      <a:pt x="178" y="146"/>
                    </a:lnTo>
                    <a:lnTo>
                      <a:pt x="184" y="144"/>
                    </a:lnTo>
                    <a:lnTo>
                      <a:pt x="185" y="139"/>
                    </a:lnTo>
                    <a:lnTo>
                      <a:pt x="187" y="132"/>
                    </a:lnTo>
                    <a:lnTo>
                      <a:pt x="190" y="127"/>
                    </a:lnTo>
                    <a:lnTo>
                      <a:pt x="192" y="124"/>
                    </a:lnTo>
                    <a:lnTo>
                      <a:pt x="194" y="119"/>
                    </a:lnTo>
                    <a:lnTo>
                      <a:pt x="194" y="115"/>
                    </a:lnTo>
                    <a:lnTo>
                      <a:pt x="197" y="112"/>
                    </a:lnTo>
                    <a:lnTo>
                      <a:pt x="195" y="109"/>
                    </a:lnTo>
                    <a:lnTo>
                      <a:pt x="197" y="102"/>
                    </a:lnTo>
                    <a:lnTo>
                      <a:pt x="194" y="100"/>
                    </a:lnTo>
                    <a:lnTo>
                      <a:pt x="192" y="97"/>
                    </a:lnTo>
                    <a:lnTo>
                      <a:pt x="194" y="93"/>
                    </a:lnTo>
                    <a:lnTo>
                      <a:pt x="192" y="90"/>
                    </a:lnTo>
                    <a:lnTo>
                      <a:pt x="194" y="86"/>
                    </a:lnTo>
                    <a:lnTo>
                      <a:pt x="194" y="81"/>
                    </a:lnTo>
                    <a:lnTo>
                      <a:pt x="190" y="78"/>
                    </a:lnTo>
                    <a:lnTo>
                      <a:pt x="185" y="75"/>
                    </a:lnTo>
                    <a:lnTo>
                      <a:pt x="185" y="70"/>
                    </a:lnTo>
                    <a:lnTo>
                      <a:pt x="189" y="68"/>
                    </a:lnTo>
                    <a:lnTo>
                      <a:pt x="192" y="64"/>
                    </a:lnTo>
                    <a:lnTo>
                      <a:pt x="192" y="58"/>
                    </a:lnTo>
                    <a:lnTo>
                      <a:pt x="194" y="51"/>
                    </a:lnTo>
                    <a:lnTo>
                      <a:pt x="197" y="51"/>
                    </a:lnTo>
                    <a:lnTo>
                      <a:pt x="202" y="49"/>
                    </a:lnTo>
                    <a:lnTo>
                      <a:pt x="207" y="47"/>
                    </a:lnTo>
                    <a:lnTo>
                      <a:pt x="211" y="47"/>
                    </a:lnTo>
                    <a:lnTo>
                      <a:pt x="216" y="49"/>
                    </a:lnTo>
                    <a:lnTo>
                      <a:pt x="214" y="53"/>
                    </a:lnTo>
                    <a:lnTo>
                      <a:pt x="218" y="56"/>
                    </a:lnTo>
                    <a:lnTo>
                      <a:pt x="219" y="59"/>
                    </a:lnTo>
                    <a:lnTo>
                      <a:pt x="224" y="61"/>
                    </a:lnTo>
                    <a:lnTo>
                      <a:pt x="228" y="58"/>
                    </a:lnTo>
                    <a:lnTo>
                      <a:pt x="228" y="54"/>
                    </a:lnTo>
                    <a:lnTo>
                      <a:pt x="231" y="51"/>
                    </a:lnTo>
                    <a:lnTo>
                      <a:pt x="235" y="51"/>
                    </a:lnTo>
                    <a:lnTo>
                      <a:pt x="236" y="56"/>
                    </a:lnTo>
                    <a:lnTo>
                      <a:pt x="238" y="61"/>
                    </a:lnTo>
                    <a:lnTo>
                      <a:pt x="236" y="66"/>
                    </a:lnTo>
                    <a:lnTo>
                      <a:pt x="236" y="70"/>
                    </a:lnTo>
                    <a:lnTo>
                      <a:pt x="235" y="78"/>
                    </a:lnTo>
                    <a:lnTo>
                      <a:pt x="238" y="83"/>
                    </a:lnTo>
                    <a:lnTo>
                      <a:pt x="240" y="90"/>
                    </a:lnTo>
                    <a:lnTo>
                      <a:pt x="238" y="93"/>
                    </a:lnTo>
                    <a:lnTo>
                      <a:pt x="243" y="97"/>
                    </a:lnTo>
                    <a:lnTo>
                      <a:pt x="246" y="98"/>
                    </a:lnTo>
                    <a:lnTo>
                      <a:pt x="248" y="103"/>
                    </a:lnTo>
                    <a:lnTo>
                      <a:pt x="250" y="107"/>
                    </a:lnTo>
                    <a:lnTo>
                      <a:pt x="252" y="110"/>
                    </a:lnTo>
                    <a:lnTo>
                      <a:pt x="255" y="115"/>
                    </a:lnTo>
                    <a:lnTo>
                      <a:pt x="257" y="119"/>
                    </a:lnTo>
                    <a:lnTo>
                      <a:pt x="262" y="119"/>
                    </a:lnTo>
                    <a:lnTo>
                      <a:pt x="267" y="122"/>
                    </a:lnTo>
                    <a:lnTo>
                      <a:pt x="272" y="122"/>
                    </a:lnTo>
                    <a:lnTo>
                      <a:pt x="275" y="122"/>
                    </a:lnTo>
                    <a:lnTo>
                      <a:pt x="279" y="125"/>
                    </a:lnTo>
                    <a:lnTo>
                      <a:pt x="284" y="124"/>
                    </a:lnTo>
                    <a:lnTo>
                      <a:pt x="289" y="119"/>
                    </a:lnTo>
                    <a:lnTo>
                      <a:pt x="292" y="122"/>
                    </a:lnTo>
                    <a:lnTo>
                      <a:pt x="296" y="124"/>
                    </a:lnTo>
                    <a:lnTo>
                      <a:pt x="299" y="120"/>
                    </a:lnTo>
                    <a:lnTo>
                      <a:pt x="303" y="115"/>
                    </a:lnTo>
                    <a:lnTo>
                      <a:pt x="301" y="110"/>
                    </a:lnTo>
                    <a:lnTo>
                      <a:pt x="303" y="107"/>
                    </a:lnTo>
                    <a:lnTo>
                      <a:pt x="304" y="103"/>
                    </a:lnTo>
                    <a:lnTo>
                      <a:pt x="309" y="103"/>
                    </a:lnTo>
                    <a:lnTo>
                      <a:pt x="313" y="109"/>
                    </a:lnTo>
                    <a:lnTo>
                      <a:pt x="316" y="105"/>
                    </a:lnTo>
                    <a:lnTo>
                      <a:pt x="323" y="102"/>
                    </a:lnTo>
                    <a:lnTo>
                      <a:pt x="328" y="100"/>
                    </a:lnTo>
                    <a:lnTo>
                      <a:pt x="332" y="97"/>
                    </a:lnTo>
                    <a:lnTo>
                      <a:pt x="337" y="98"/>
                    </a:lnTo>
                    <a:lnTo>
                      <a:pt x="340" y="95"/>
                    </a:lnTo>
                    <a:lnTo>
                      <a:pt x="347" y="92"/>
                    </a:lnTo>
                    <a:lnTo>
                      <a:pt x="349" y="95"/>
                    </a:lnTo>
                    <a:lnTo>
                      <a:pt x="352" y="93"/>
                    </a:lnTo>
                    <a:lnTo>
                      <a:pt x="357" y="92"/>
                    </a:lnTo>
                    <a:lnTo>
                      <a:pt x="360" y="97"/>
                    </a:lnTo>
                    <a:lnTo>
                      <a:pt x="364" y="100"/>
                    </a:lnTo>
                    <a:lnTo>
                      <a:pt x="367" y="102"/>
                    </a:lnTo>
                    <a:lnTo>
                      <a:pt x="367" y="105"/>
                    </a:lnTo>
                    <a:lnTo>
                      <a:pt x="364" y="110"/>
                    </a:lnTo>
                    <a:lnTo>
                      <a:pt x="367" y="115"/>
                    </a:lnTo>
                    <a:lnTo>
                      <a:pt x="367" y="120"/>
                    </a:lnTo>
                    <a:lnTo>
                      <a:pt x="367" y="124"/>
                    </a:lnTo>
                    <a:lnTo>
                      <a:pt x="376" y="127"/>
                    </a:lnTo>
                    <a:lnTo>
                      <a:pt x="381" y="131"/>
                    </a:lnTo>
                    <a:lnTo>
                      <a:pt x="384" y="136"/>
                    </a:lnTo>
                    <a:lnTo>
                      <a:pt x="383" y="141"/>
                    </a:lnTo>
                    <a:lnTo>
                      <a:pt x="381" y="144"/>
                    </a:lnTo>
                    <a:lnTo>
                      <a:pt x="384" y="146"/>
                    </a:lnTo>
                    <a:lnTo>
                      <a:pt x="389" y="146"/>
                    </a:lnTo>
                    <a:lnTo>
                      <a:pt x="393" y="144"/>
                    </a:lnTo>
                    <a:lnTo>
                      <a:pt x="396" y="146"/>
                    </a:lnTo>
                    <a:lnTo>
                      <a:pt x="400" y="146"/>
                    </a:lnTo>
                    <a:lnTo>
                      <a:pt x="405" y="144"/>
                    </a:lnTo>
                    <a:lnTo>
                      <a:pt x="406" y="141"/>
                    </a:lnTo>
                    <a:lnTo>
                      <a:pt x="410" y="137"/>
                    </a:lnTo>
                    <a:lnTo>
                      <a:pt x="412" y="132"/>
                    </a:lnTo>
                    <a:lnTo>
                      <a:pt x="410" y="127"/>
                    </a:lnTo>
                    <a:lnTo>
                      <a:pt x="408" y="122"/>
                    </a:lnTo>
                    <a:lnTo>
                      <a:pt x="403" y="119"/>
                    </a:lnTo>
                    <a:lnTo>
                      <a:pt x="398" y="115"/>
                    </a:lnTo>
                    <a:lnTo>
                      <a:pt x="394" y="107"/>
                    </a:lnTo>
                    <a:lnTo>
                      <a:pt x="394" y="102"/>
                    </a:lnTo>
                    <a:lnTo>
                      <a:pt x="400" y="98"/>
                    </a:lnTo>
                    <a:lnTo>
                      <a:pt x="400" y="93"/>
                    </a:lnTo>
                    <a:lnTo>
                      <a:pt x="401" y="90"/>
                    </a:lnTo>
                    <a:lnTo>
                      <a:pt x="405" y="88"/>
                    </a:lnTo>
                    <a:lnTo>
                      <a:pt x="408" y="85"/>
                    </a:lnTo>
                    <a:lnTo>
                      <a:pt x="408" y="81"/>
                    </a:lnTo>
                    <a:lnTo>
                      <a:pt x="408" y="78"/>
                    </a:lnTo>
                    <a:lnTo>
                      <a:pt x="405" y="75"/>
                    </a:lnTo>
                    <a:lnTo>
                      <a:pt x="401" y="73"/>
                    </a:lnTo>
                    <a:lnTo>
                      <a:pt x="394" y="75"/>
                    </a:lnTo>
                    <a:lnTo>
                      <a:pt x="388" y="76"/>
                    </a:lnTo>
                    <a:lnTo>
                      <a:pt x="384" y="75"/>
                    </a:lnTo>
                    <a:lnTo>
                      <a:pt x="383" y="71"/>
                    </a:lnTo>
                    <a:lnTo>
                      <a:pt x="379" y="70"/>
                    </a:lnTo>
                    <a:lnTo>
                      <a:pt x="379" y="66"/>
                    </a:lnTo>
                    <a:lnTo>
                      <a:pt x="381" y="61"/>
                    </a:lnTo>
                    <a:lnTo>
                      <a:pt x="381" y="58"/>
                    </a:lnTo>
                    <a:lnTo>
                      <a:pt x="379" y="46"/>
                    </a:lnTo>
                    <a:lnTo>
                      <a:pt x="381" y="41"/>
                    </a:lnTo>
                    <a:lnTo>
                      <a:pt x="381" y="37"/>
                    </a:lnTo>
                    <a:lnTo>
                      <a:pt x="379" y="34"/>
                    </a:lnTo>
                    <a:lnTo>
                      <a:pt x="384" y="31"/>
                    </a:lnTo>
                    <a:lnTo>
                      <a:pt x="386" y="27"/>
                    </a:lnTo>
                    <a:lnTo>
                      <a:pt x="388" y="24"/>
                    </a:lnTo>
                    <a:lnTo>
                      <a:pt x="393" y="20"/>
                    </a:lnTo>
                    <a:lnTo>
                      <a:pt x="391" y="17"/>
                    </a:lnTo>
                    <a:lnTo>
                      <a:pt x="391" y="12"/>
                    </a:lnTo>
                    <a:lnTo>
                      <a:pt x="396" y="12"/>
                    </a:lnTo>
                    <a:lnTo>
                      <a:pt x="400" y="12"/>
                    </a:lnTo>
                    <a:lnTo>
                      <a:pt x="405" y="8"/>
                    </a:lnTo>
                    <a:lnTo>
                      <a:pt x="410" y="7"/>
                    </a:lnTo>
                    <a:lnTo>
                      <a:pt x="413" y="5"/>
                    </a:lnTo>
                    <a:lnTo>
                      <a:pt x="417" y="5"/>
                    </a:lnTo>
                    <a:lnTo>
                      <a:pt x="420" y="7"/>
                    </a:lnTo>
                    <a:lnTo>
                      <a:pt x="422" y="3"/>
                    </a:lnTo>
                    <a:lnTo>
                      <a:pt x="425" y="0"/>
                    </a:lnTo>
                    <a:lnTo>
                      <a:pt x="427" y="5"/>
                    </a:lnTo>
                    <a:lnTo>
                      <a:pt x="427" y="5"/>
                    </a:lnTo>
                    <a:lnTo>
                      <a:pt x="430" y="8"/>
                    </a:lnTo>
                    <a:lnTo>
                      <a:pt x="429" y="14"/>
                    </a:lnTo>
                    <a:lnTo>
                      <a:pt x="427" y="20"/>
                    </a:lnTo>
                    <a:lnTo>
                      <a:pt x="430" y="22"/>
                    </a:lnTo>
                    <a:lnTo>
                      <a:pt x="437" y="24"/>
                    </a:lnTo>
                    <a:lnTo>
                      <a:pt x="440" y="27"/>
                    </a:lnTo>
                    <a:lnTo>
                      <a:pt x="446" y="31"/>
                    </a:lnTo>
                    <a:lnTo>
                      <a:pt x="449" y="31"/>
                    </a:lnTo>
                    <a:lnTo>
                      <a:pt x="452" y="31"/>
                    </a:lnTo>
                    <a:lnTo>
                      <a:pt x="456" y="29"/>
                    </a:lnTo>
                    <a:lnTo>
                      <a:pt x="464" y="32"/>
                    </a:lnTo>
                    <a:lnTo>
                      <a:pt x="468" y="31"/>
                    </a:lnTo>
                    <a:lnTo>
                      <a:pt x="473" y="32"/>
                    </a:lnTo>
                    <a:lnTo>
                      <a:pt x="478" y="37"/>
                    </a:lnTo>
                    <a:lnTo>
                      <a:pt x="480" y="42"/>
                    </a:lnTo>
                    <a:lnTo>
                      <a:pt x="483" y="46"/>
                    </a:lnTo>
                    <a:lnTo>
                      <a:pt x="486" y="49"/>
                    </a:lnTo>
                    <a:lnTo>
                      <a:pt x="490" y="47"/>
                    </a:lnTo>
                    <a:lnTo>
                      <a:pt x="498" y="49"/>
                    </a:lnTo>
                    <a:lnTo>
                      <a:pt x="502" y="49"/>
                    </a:lnTo>
                    <a:lnTo>
                      <a:pt x="505" y="53"/>
                    </a:lnTo>
                    <a:lnTo>
                      <a:pt x="508" y="56"/>
                    </a:lnTo>
                    <a:lnTo>
                      <a:pt x="514" y="58"/>
                    </a:lnTo>
                    <a:lnTo>
                      <a:pt x="520" y="64"/>
                    </a:lnTo>
                    <a:lnTo>
                      <a:pt x="519" y="68"/>
                    </a:lnTo>
                    <a:lnTo>
                      <a:pt x="519" y="71"/>
                    </a:lnTo>
                    <a:lnTo>
                      <a:pt x="520" y="75"/>
                    </a:lnTo>
                    <a:lnTo>
                      <a:pt x="522" y="78"/>
                    </a:lnTo>
                    <a:lnTo>
                      <a:pt x="520" y="85"/>
                    </a:lnTo>
                    <a:lnTo>
                      <a:pt x="517" y="88"/>
                    </a:lnTo>
                    <a:lnTo>
                      <a:pt x="514" y="90"/>
                    </a:lnTo>
                    <a:lnTo>
                      <a:pt x="508" y="90"/>
                    </a:lnTo>
                    <a:lnTo>
                      <a:pt x="503" y="93"/>
                    </a:lnTo>
                    <a:lnTo>
                      <a:pt x="502" y="98"/>
                    </a:lnTo>
                    <a:lnTo>
                      <a:pt x="498" y="97"/>
                    </a:lnTo>
                    <a:lnTo>
                      <a:pt x="495" y="102"/>
                    </a:lnTo>
                    <a:lnTo>
                      <a:pt x="507" y="109"/>
                    </a:lnTo>
                    <a:lnTo>
                      <a:pt x="507" y="112"/>
                    </a:lnTo>
                    <a:lnTo>
                      <a:pt x="510" y="115"/>
                    </a:lnTo>
                    <a:lnTo>
                      <a:pt x="508" y="119"/>
                    </a:lnTo>
                    <a:lnTo>
                      <a:pt x="507" y="124"/>
                    </a:lnTo>
                    <a:lnTo>
                      <a:pt x="510" y="125"/>
                    </a:lnTo>
                    <a:lnTo>
                      <a:pt x="510" y="129"/>
                    </a:lnTo>
                    <a:lnTo>
                      <a:pt x="512" y="132"/>
                    </a:lnTo>
                    <a:lnTo>
                      <a:pt x="514" y="136"/>
                    </a:lnTo>
                    <a:lnTo>
                      <a:pt x="510" y="139"/>
                    </a:lnTo>
                    <a:lnTo>
                      <a:pt x="510" y="142"/>
                    </a:lnTo>
                    <a:lnTo>
                      <a:pt x="507" y="149"/>
                    </a:lnTo>
                    <a:lnTo>
                      <a:pt x="503" y="156"/>
                    </a:lnTo>
                    <a:lnTo>
                      <a:pt x="505" y="159"/>
                    </a:lnTo>
                    <a:lnTo>
                      <a:pt x="508" y="164"/>
                    </a:lnTo>
                    <a:lnTo>
                      <a:pt x="507" y="168"/>
                    </a:lnTo>
                    <a:lnTo>
                      <a:pt x="503" y="171"/>
                    </a:lnTo>
                    <a:lnTo>
                      <a:pt x="505" y="178"/>
                    </a:lnTo>
                    <a:lnTo>
                      <a:pt x="503" y="187"/>
                    </a:lnTo>
                    <a:lnTo>
                      <a:pt x="498" y="192"/>
                    </a:lnTo>
                    <a:lnTo>
                      <a:pt x="497" y="195"/>
                    </a:lnTo>
                    <a:close/>
                  </a:path>
                </a:pathLst>
              </a:custGeom>
              <a:solidFill>
                <a:srgbClr val="F47575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8" name="Line 13">
                <a:extLst>
                  <a:ext uri="{FF2B5EF4-FFF2-40B4-BE49-F238E27FC236}">
                    <a16:creationId xmlns:a16="http://schemas.microsoft.com/office/drawing/2014/main" id="{EF49C534-F499-6A9A-4092-E07D0BC296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9625" y="20097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89" name="Line 14">
                <a:extLst>
                  <a:ext uri="{FF2B5EF4-FFF2-40B4-BE49-F238E27FC236}">
                    <a16:creationId xmlns:a16="http://schemas.microsoft.com/office/drawing/2014/main" id="{7D344D16-F8EF-0115-9C55-CE9B4C6384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5975" y="2014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0" name="Freeform 15">
                <a:extLst>
                  <a:ext uri="{FF2B5EF4-FFF2-40B4-BE49-F238E27FC236}">
                    <a16:creationId xmlns:a16="http://schemas.microsoft.com/office/drawing/2014/main" id="{B8BDC69A-5900-39F7-1B5C-41D3C63E2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1900" y="655638"/>
                <a:ext cx="801687" cy="804862"/>
              </a:xfrm>
              <a:custGeom>
                <a:avLst/>
                <a:gdLst>
                  <a:gd name="T0" fmla="*/ 427 w 505"/>
                  <a:gd name="T1" fmla="*/ 159 h 507"/>
                  <a:gd name="T2" fmla="*/ 404 w 505"/>
                  <a:gd name="T3" fmla="*/ 166 h 507"/>
                  <a:gd name="T4" fmla="*/ 389 w 505"/>
                  <a:gd name="T5" fmla="*/ 193 h 507"/>
                  <a:gd name="T6" fmla="*/ 357 w 505"/>
                  <a:gd name="T7" fmla="*/ 203 h 507"/>
                  <a:gd name="T8" fmla="*/ 367 w 505"/>
                  <a:gd name="T9" fmla="*/ 229 h 507"/>
                  <a:gd name="T10" fmla="*/ 350 w 505"/>
                  <a:gd name="T11" fmla="*/ 252 h 507"/>
                  <a:gd name="T12" fmla="*/ 353 w 505"/>
                  <a:gd name="T13" fmla="*/ 273 h 507"/>
                  <a:gd name="T14" fmla="*/ 369 w 505"/>
                  <a:gd name="T15" fmla="*/ 295 h 507"/>
                  <a:gd name="T16" fmla="*/ 387 w 505"/>
                  <a:gd name="T17" fmla="*/ 313 h 507"/>
                  <a:gd name="T18" fmla="*/ 374 w 505"/>
                  <a:gd name="T19" fmla="*/ 337 h 507"/>
                  <a:gd name="T20" fmla="*/ 340 w 505"/>
                  <a:gd name="T21" fmla="*/ 351 h 507"/>
                  <a:gd name="T22" fmla="*/ 326 w 505"/>
                  <a:gd name="T23" fmla="*/ 371 h 507"/>
                  <a:gd name="T24" fmla="*/ 321 w 505"/>
                  <a:gd name="T25" fmla="*/ 395 h 507"/>
                  <a:gd name="T26" fmla="*/ 296 w 505"/>
                  <a:gd name="T27" fmla="*/ 385 h 507"/>
                  <a:gd name="T28" fmla="*/ 258 w 505"/>
                  <a:gd name="T29" fmla="*/ 395 h 507"/>
                  <a:gd name="T30" fmla="*/ 239 w 505"/>
                  <a:gd name="T31" fmla="*/ 417 h 507"/>
                  <a:gd name="T32" fmla="*/ 216 w 505"/>
                  <a:gd name="T33" fmla="*/ 425 h 507"/>
                  <a:gd name="T34" fmla="*/ 202 w 505"/>
                  <a:gd name="T35" fmla="*/ 459 h 507"/>
                  <a:gd name="T36" fmla="*/ 200 w 505"/>
                  <a:gd name="T37" fmla="*/ 483 h 507"/>
                  <a:gd name="T38" fmla="*/ 170 w 505"/>
                  <a:gd name="T39" fmla="*/ 490 h 507"/>
                  <a:gd name="T40" fmla="*/ 144 w 505"/>
                  <a:gd name="T41" fmla="*/ 503 h 507"/>
                  <a:gd name="T42" fmla="*/ 120 w 505"/>
                  <a:gd name="T43" fmla="*/ 492 h 507"/>
                  <a:gd name="T44" fmla="*/ 125 w 505"/>
                  <a:gd name="T45" fmla="*/ 461 h 507"/>
                  <a:gd name="T46" fmla="*/ 97 w 505"/>
                  <a:gd name="T47" fmla="*/ 449 h 507"/>
                  <a:gd name="T48" fmla="*/ 69 w 505"/>
                  <a:gd name="T49" fmla="*/ 458 h 507"/>
                  <a:gd name="T50" fmla="*/ 40 w 505"/>
                  <a:gd name="T51" fmla="*/ 464 h 507"/>
                  <a:gd name="T52" fmla="*/ 32 w 505"/>
                  <a:gd name="T53" fmla="*/ 441 h 507"/>
                  <a:gd name="T54" fmla="*/ 23 w 505"/>
                  <a:gd name="T55" fmla="*/ 403 h 507"/>
                  <a:gd name="T56" fmla="*/ 27 w 505"/>
                  <a:gd name="T57" fmla="*/ 374 h 507"/>
                  <a:gd name="T58" fmla="*/ 44 w 505"/>
                  <a:gd name="T59" fmla="*/ 335 h 507"/>
                  <a:gd name="T60" fmla="*/ 47 w 505"/>
                  <a:gd name="T61" fmla="*/ 300 h 507"/>
                  <a:gd name="T62" fmla="*/ 34 w 505"/>
                  <a:gd name="T63" fmla="*/ 269 h 507"/>
                  <a:gd name="T64" fmla="*/ 57 w 505"/>
                  <a:gd name="T65" fmla="*/ 249 h 507"/>
                  <a:gd name="T66" fmla="*/ 35 w 505"/>
                  <a:gd name="T67" fmla="*/ 220 h 507"/>
                  <a:gd name="T68" fmla="*/ 20 w 505"/>
                  <a:gd name="T69" fmla="*/ 195 h 507"/>
                  <a:gd name="T70" fmla="*/ 5 w 505"/>
                  <a:gd name="T71" fmla="*/ 171 h 507"/>
                  <a:gd name="T72" fmla="*/ 1 w 505"/>
                  <a:gd name="T73" fmla="*/ 137 h 507"/>
                  <a:gd name="T74" fmla="*/ 15 w 505"/>
                  <a:gd name="T75" fmla="*/ 107 h 507"/>
                  <a:gd name="T76" fmla="*/ 37 w 505"/>
                  <a:gd name="T77" fmla="*/ 98 h 507"/>
                  <a:gd name="T78" fmla="*/ 71 w 505"/>
                  <a:gd name="T79" fmla="*/ 91 h 507"/>
                  <a:gd name="T80" fmla="*/ 88 w 505"/>
                  <a:gd name="T81" fmla="*/ 117 h 507"/>
                  <a:gd name="T82" fmla="*/ 124 w 505"/>
                  <a:gd name="T83" fmla="*/ 122 h 507"/>
                  <a:gd name="T84" fmla="*/ 154 w 505"/>
                  <a:gd name="T85" fmla="*/ 113 h 507"/>
                  <a:gd name="T86" fmla="*/ 170 w 505"/>
                  <a:gd name="T87" fmla="*/ 78 h 507"/>
                  <a:gd name="T88" fmla="*/ 183 w 505"/>
                  <a:gd name="T89" fmla="*/ 52 h 507"/>
                  <a:gd name="T90" fmla="*/ 221 w 505"/>
                  <a:gd name="T91" fmla="*/ 40 h 507"/>
                  <a:gd name="T92" fmla="*/ 251 w 505"/>
                  <a:gd name="T93" fmla="*/ 42 h 507"/>
                  <a:gd name="T94" fmla="*/ 287 w 505"/>
                  <a:gd name="T95" fmla="*/ 34 h 507"/>
                  <a:gd name="T96" fmla="*/ 321 w 505"/>
                  <a:gd name="T97" fmla="*/ 44 h 507"/>
                  <a:gd name="T98" fmla="*/ 360 w 505"/>
                  <a:gd name="T99" fmla="*/ 27 h 507"/>
                  <a:gd name="T100" fmla="*/ 399 w 505"/>
                  <a:gd name="T101" fmla="*/ 10 h 507"/>
                  <a:gd name="T102" fmla="*/ 435 w 505"/>
                  <a:gd name="T103" fmla="*/ 0 h 507"/>
                  <a:gd name="T104" fmla="*/ 428 w 505"/>
                  <a:gd name="T105" fmla="*/ 22 h 507"/>
                  <a:gd name="T106" fmla="*/ 427 w 505"/>
                  <a:gd name="T107" fmla="*/ 51 h 507"/>
                  <a:gd name="T108" fmla="*/ 444 w 505"/>
                  <a:gd name="T109" fmla="*/ 71 h 507"/>
                  <a:gd name="T110" fmla="*/ 459 w 505"/>
                  <a:gd name="T111" fmla="*/ 98 h 507"/>
                  <a:gd name="T112" fmla="*/ 481 w 505"/>
                  <a:gd name="T113" fmla="*/ 127 h 507"/>
                  <a:gd name="T114" fmla="*/ 491 w 505"/>
                  <a:gd name="T115" fmla="*/ 151 h 507"/>
                  <a:gd name="T116" fmla="*/ 466 w 505"/>
                  <a:gd name="T117" fmla="*/ 163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5" h="507">
                    <a:moveTo>
                      <a:pt x="450" y="161"/>
                    </a:moveTo>
                    <a:lnTo>
                      <a:pt x="447" y="166"/>
                    </a:lnTo>
                    <a:lnTo>
                      <a:pt x="444" y="168"/>
                    </a:lnTo>
                    <a:lnTo>
                      <a:pt x="440" y="171"/>
                    </a:lnTo>
                    <a:lnTo>
                      <a:pt x="438" y="164"/>
                    </a:lnTo>
                    <a:lnTo>
                      <a:pt x="435" y="163"/>
                    </a:lnTo>
                    <a:lnTo>
                      <a:pt x="432" y="159"/>
                    </a:lnTo>
                    <a:lnTo>
                      <a:pt x="427" y="159"/>
                    </a:lnTo>
                    <a:lnTo>
                      <a:pt x="421" y="156"/>
                    </a:lnTo>
                    <a:lnTo>
                      <a:pt x="418" y="154"/>
                    </a:lnTo>
                    <a:lnTo>
                      <a:pt x="413" y="149"/>
                    </a:lnTo>
                    <a:lnTo>
                      <a:pt x="408" y="146"/>
                    </a:lnTo>
                    <a:lnTo>
                      <a:pt x="406" y="154"/>
                    </a:lnTo>
                    <a:lnTo>
                      <a:pt x="408" y="157"/>
                    </a:lnTo>
                    <a:lnTo>
                      <a:pt x="406" y="163"/>
                    </a:lnTo>
                    <a:lnTo>
                      <a:pt x="404" y="166"/>
                    </a:lnTo>
                    <a:lnTo>
                      <a:pt x="401" y="169"/>
                    </a:lnTo>
                    <a:lnTo>
                      <a:pt x="403" y="174"/>
                    </a:lnTo>
                    <a:lnTo>
                      <a:pt x="403" y="178"/>
                    </a:lnTo>
                    <a:lnTo>
                      <a:pt x="399" y="183"/>
                    </a:lnTo>
                    <a:lnTo>
                      <a:pt x="398" y="186"/>
                    </a:lnTo>
                    <a:lnTo>
                      <a:pt x="394" y="190"/>
                    </a:lnTo>
                    <a:lnTo>
                      <a:pt x="393" y="193"/>
                    </a:lnTo>
                    <a:lnTo>
                      <a:pt x="389" y="193"/>
                    </a:lnTo>
                    <a:lnTo>
                      <a:pt x="384" y="193"/>
                    </a:lnTo>
                    <a:lnTo>
                      <a:pt x="381" y="195"/>
                    </a:lnTo>
                    <a:lnTo>
                      <a:pt x="379" y="198"/>
                    </a:lnTo>
                    <a:lnTo>
                      <a:pt x="374" y="198"/>
                    </a:lnTo>
                    <a:lnTo>
                      <a:pt x="370" y="196"/>
                    </a:lnTo>
                    <a:lnTo>
                      <a:pt x="367" y="198"/>
                    </a:lnTo>
                    <a:lnTo>
                      <a:pt x="364" y="202"/>
                    </a:lnTo>
                    <a:lnTo>
                      <a:pt x="357" y="203"/>
                    </a:lnTo>
                    <a:lnTo>
                      <a:pt x="350" y="207"/>
                    </a:lnTo>
                    <a:lnTo>
                      <a:pt x="347" y="212"/>
                    </a:lnTo>
                    <a:lnTo>
                      <a:pt x="347" y="215"/>
                    </a:lnTo>
                    <a:lnTo>
                      <a:pt x="350" y="218"/>
                    </a:lnTo>
                    <a:lnTo>
                      <a:pt x="355" y="218"/>
                    </a:lnTo>
                    <a:lnTo>
                      <a:pt x="362" y="218"/>
                    </a:lnTo>
                    <a:lnTo>
                      <a:pt x="365" y="222"/>
                    </a:lnTo>
                    <a:lnTo>
                      <a:pt x="367" y="229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55" y="237"/>
                    </a:lnTo>
                    <a:lnTo>
                      <a:pt x="355" y="242"/>
                    </a:lnTo>
                    <a:lnTo>
                      <a:pt x="353" y="249"/>
                    </a:lnTo>
                    <a:lnTo>
                      <a:pt x="353" y="252"/>
                    </a:lnTo>
                    <a:lnTo>
                      <a:pt x="353" y="256"/>
                    </a:lnTo>
                    <a:lnTo>
                      <a:pt x="350" y="252"/>
                    </a:lnTo>
                    <a:lnTo>
                      <a:pt x="348" y="256"/>
                    </a:lnTo>
                    <a:lnTo>
                      <a:pt x="343" y="256"/>
                    </a:lnTo>
                    <a:lnTo>
                      <a:pt x="340" y="257"/>
                    </a:lnTo>
                    <a:lnTo>
                      <a:pt x="340" y="263"/>
                    </a:lnTo>
                    <a:lnTo>
                      <a:pt x="345" y="264"/>
                    </a:lnTo>
                    <a:lnTo>
                      <a:pt x="347" y="268"/>
                    </a:lnTo>
                    <a:lnTo>
                      <a:pt x="350" y="269"/>
                    </a:lnTo>
                    <a:lnTo>
                      <a:pt x="353" y="273"/>
                    </a:lnTo>
                    <a:lnTo>
                      <a:pt x="355" y="276"/>
                    </a:lnTo>
                    <a:lnTo>
                      <a:pt x="353" y="281"/>
                    </a:lnTo>
                    <a:lnTo>
                      <a:pt x="353" y="285"/>
                    </a:lnTo>
                    <a:lnTo>
                      <a:pt x="355" y="290"/>
                    </a:lnTo>
                    <a:lnTo>
                      <a:pt x="360" y="290"/>
                    </a:lnTo>
                    <a:lnTo>
                      <a:pt x="365" y="286"/>
                    </a:lnTo>
                    <a:lnTo>
                      <a:pt x="367" y="291"/>
                    </a:lnTo>
                    <a:lnTo>
                      <a:pt x="369" y="295"/>
                    </a:lnTo>
                    <a:lnTo>
                      <a:pt x="374" y="296"/>
                    </a:lnTo>
                    <a:lnTo>
                      <a:pt x="377" y="296"/>
                    </a:lnTo>
                    <a:lnTo>
                      <a:pt x="376" y="300"/>
                    </a:lnTo>
                    <a:lnTo>
                      <a:pt x="374" y="305"/>
                    </a:lnTo>
                    <a:lnTo>
                      <a:pt x="377" y="308"/>
                    </a:lnTo>
                    <a:lnTo>
                      <a:pt x="379" y="312"/>
                    </a:lnTo>
                    <a:lnTo>
                      <a:pt x="384" y="313"/>
                    </a:lnTo>
                    <a:lnTo>
                      <a:pt x="387" y="313"/>
                    </a:lnTo>
                    <a:lnTo>
                      <a:pt x="387" y="317"/>
                    </a:lnTo>
                    <a:lnTo>
                      <a:pt x="384" y="320"/>
                    </a:lnTo>
                    <a:lnTo>
                      <a:pt x="384" y="324"/>
                    </a:lnTo>
                    <a:lnTo>
                      <a:pt x="381" y="324"/>
                    </a:lnTo>
                    <a:lnTo>
                      <a:pt x="377" y="327"/>
                    </a:lnTo>
                    <a:lnTo>
                      <a:pt x="377" y="330"/>
                    </a:lnTo>
                    <a:lnTo>
                      <a:pt x="376" y="334"/>
                    </a:lnTo>
                    <a:lnTo>
                      <a:pt x="374" y="337"/>
                    </a:lnTo>
                    <a:lnTo>
                      <a:pt x="370" y="342"/>
                    </a:lnTo>
                    <a:lnTo>
                      <a:pt x="367" y="344"/>
                    </a:lnTo>
                    <a:lnTo>
                      <a:pt x="360" y="346"/>
                    </a:lnTo>
                    <a:lnTo>
                      <a:pt x="355" y="347"/>
                    </a:lnTo>
                    <a:lnTo>
                      <a:pt x="352" y="349"/>
                    </a:lnTo>
                    <a:lnTo>
                      <a:pt x="347" y="349"/>
                    </a:lnTo>
                    <a:lnTo>
                      <a:pt x="343" y="349"/>
                    </a:lnTo>
                    <a:lnTo>
                      <a:pt x="340" y="351"/>
                    </a:lnTo>
                    <a:lnTo>
                      <a:pt x="336" y="349"/>
                    </a:lnTo>
                    <a:lnTo>
                      <a:pt x="330" y="349"/>
                    </a:lnTo>
                    <a:lnTo>
                      <a:pt x="326" y="351"/>
                    </a:lnTo>
                    <a:lnTo>
                      <a:pt x="323" y="352"/>
                    </a:lnTo>
                    <a:lnTo>
                      <a:pt x="319" y="358"/>
                    </a:lnTo>
                    <a:lnTo>
                      <a:pt x="321" y="363"/>
                    </a:lnTo>
                    <a:lnTo>
                      <a:pt x="326" y="368"/>
                    </a:lnTo>
                    <a:lnTo>
                      <a:pt x="326" y="371"/>
                    </a:lnTo>
                    <a:lnTo>
                      <a:pt x="321" y="371"/>
                    </a:lnTo>
                    <a:lnTo>
                      <a:pt x="316" y="373"/>
                    </a:lnTo>
                    <a:lnTo>
                      <a:pt x="319" y="376"/>
                    </a:lnTo>
                    <a:lnTo>
                      <a:pt x="318" y="380"/>
                    </a:lnTo>
                    <a:lnTo>
                      <a:pt x="319" y="385"/>
                    </a:lnTo>
                    <a:lnTo>
                      <a:pt x="321" y="388"/>
                    </a:lnTo>
                    <a:lnTo>
                      <a:pt x="321" y="391"/>
                    </a:lnTo>
                    <a:lnTo>
                      <a:pt x="321" y="395"/>
                    </a:lnTo>
                    <a:lnTo>
                      <a:pt x="319" y="398"/>
                    </a:lnTo>
                    <a:lnTo>
                      <a:pt x="314" y="398"/>
                    </a:lnTo>
                    <a:lnTo>
                      <a:pt x="311" y="400"/>
                    </a:lnTo>
                    <a:lnTo>
                      <a:pt x="306" y="397"/>
                    </a:lnTo>
                    <a:lnTo>
                      <a:pt x="301" y="397"/>
                    </a:lnTo>
                    <a:lnTo>
                      <a:pt x="297" y="393"/>
                    </a:lnTo>
                    <a:lnTo>
                      <a:pt x="296" y="390"/>
                    </a:lnTo>
                    <a:lnTo>
                      <a:pt x="296" y="385"/>
                    </a:lnTo>
                    <a:lnTo>
                      <a:pt x="292" y="385"/>
                    </a:lnTo>
                    <a:lnTo>
                      <a:pt x="287" y="383"/>
                    </a:lnTo>
                    <a:lnTo>
                      <a:pt x="282" y="383"/>
                    </a:lnTo>
                    <a:lnTo>
                      <a:pt x="279" y="385"/>
                    </a:lnTo>
                    <a:lnTo>
                      <a:pt x="273" y="385"/>
                    </a:lnTo>
                    <a:lnTo>
                      <a:pt x="268" y="388"/>
                    </a:lnTo>
                    <a:lnTo>
                      <a:pt x="265" y="393"/>
                    </a:lnTo>
                    <a:lnTo>
                      <a:pt x="258" y="395"/>
                    </a:lnTo>
                    <a:lnTo>
                      <a:pt x="251" y="395"/>
                    </a:lnTo>
                    <a:lnTo>
                      <a:pt x="246" y="395"/>
                    </a:lnTo>
                    <a:lnTo>
                      <a:pt x="245" y="398"/>
                    </a:lnTo>
                    <a:lnTo>
                      <a:pt x="246" y="402"/>
                    </a:lnTo>
                    <a:lnTo>
                      <a:pt x="248" y="405"/>
                    </a:lnTo>
                    <a:lnTo>
                      <a:pt x="245" y="408"/>
                    </a:lnTo>
                    <a:lnTo>
                      <a:pt x="241" y="414"/>
                    </a:lnTo>
                    <a:lnTo>
                      <a:pt x="239" y="417"/>
                    </a:lnTo>
                    <a:lnTo>
                      <a:pt x="239" y="420"/>
                    </a:lnTo>
                    <a:lnTo>
                      <a:pt x="234" y="419"/>
                    </a:lnTo>
                    <a:lnTo>
                      <a:pt x="231" y="415"/>
                    </a:lnTo>
                    <a:lnTo>
                      <a:pt x="229" y="419"/>
                    </a:lnTo>
                    <a:lnTo>
                      <a:pt x="224" y="419"/>
                    </a:lnTo>
                    <a:lnTo>
                      <a:pt x="217" y="417"/>
                    </a:lnTo>
                    <a:lnTo>
                      <a:pt x="217" y="422"/>
                    </a:lnTo>
                    <a:lnTo>
                      <a:pt x="216" y="425"/>
                    </a:lnTo>
                    <a:lnTo>
                      <a:pt x="217" y="429"/>
                    </a:lnTo>
                    <a:lnTo>
                      <a:pt x="212" y="432"/>
                    </a:lnTo>
                    <a:lnTo>
                      <a:pt x="214" y="441"/>
                    </a:lnTo>
                    <a:lnTo>
                      <a:pt x="210" y="442"/>
                    </a:lnTo>
                    <a:lnTo>
                      <a:pt x="209" y="447"/>
                    </a:lnTo>
                    <a:lnTo>
                      <a:pt x="205" y="451"/>
                    </a:lnTo>
                    <a:lnTo>
                      <a:pt x="202" y="454"/>
                    </a:lnTo>
                    <a:lnTo>
                      <a:pt x="202" y="459"/>
                    </a:lnTo>
                    <a:lnTo>
                      <a:pt x="204" y="463"/>
                    </a:lnTo>
                    <a:lnTo>
                      <a:pt x="205" y="466"/>
                    </a:lnTo>
                    <a:lnTo>
                      <a:pt x="202" y="466"/>
                    </a:lnTo>
                    <a:lnTo>
                      <a:pt x="199" y="464"/>
                    </a:lnTo>
                    <a:lnTo>
                      <a:pt x="200" y="468"/>
                    </a:lnTo>
                    <a:lnTo>
                      <a:pt x="200" y="473"/>
                    </a:lnTo>
                    <a:lnTo>
                      <a:pt x="199" y="478"/>
                    </a:lnTo>
                    <a:lnTo>
                      <a:pt x="200" y="483"/>
                    </a:lnTo>
                    <a:lnTo>
                      <a:pt x="193" y="490"/>
                    </a:lnTo>
                    <a:lnTo>
                      <a:pt x="190" y="493"/>
                    </a:lnTo>
                    <a:lnTo>
                      <a:pt x="190" y="497"/>
                    </a:lnTo>
                    <a:lnTo>
                      <a:pt x="187" y="500"/>
                    </a:lnTo>
                    <a:lnTo>
                      <a:pt x="183" y="498"/>
                    </a:lnTo>
                    <a:lnTo>
                      <a:pt x="180" y="498"/>
                    </a:lnTo>
                    <a:lnTo>
                      <a:pt x="173" y="493"/>
                    </a:lnTo>
                    <a:lnTo>
                      <a:pt x="170" y="490"/>
                    </a:lnTo>
                    <a:lnTo>
                      <a:pt x="166" y="493"/>
                    </a:lnTo>
                    <a:lnTo>
                      <a:pt x="163" y="495"/>
                    </a:lnTo>
                    <a:lnTo>
                      <a:pt x="159" y="492"/>
                    </a:lnTo>
                    <a:lnTo>
                      <a:pt x="154" y="495"/>
                    </a:lnTo>
                    <a:lnTo>
                      <a:pt x="153" y="500"/>
                    </a:lnTo>
                    <a:lnTo>
                      <a:pt x="149" y="503"/>
                    </a:lnTo>
                    <a:lnTo>
                      <a:pt x="149" y="500"/>
                    </a:lnTo>
                    <a:lnTo>
                      <a:pt x="144" y="503"/>
                    </a:lnTo>
                    <a:lnTo>
                      <a:pt x="142" y="507"/>
                    </a:lnTo>
                    <a:lnTo>
                      <a:pt x="139" y="505"/>
                    </a:lnTo>
                    <a:lnTo>
                      <a:pt x="134" y="502"/>
                    </a:lnTo>
                    <a:lnTo>
                      <a:pt x="136" y="497"/>
                    </a:lnTo>
                    <a:lnTo>
                      <a:pt x="132" y="495"/>
                    </a:lnTo>
                    <a:lnTo>
                      <a:pt x="129" y="492"/>
                    </a:lnTo>
                    <a:lnTo>
                      <a:pt x="125" y="492"/>
                    </a:lnTo>
                    <a:lnTo>
                      <a:pt x="120" y="492"/>
                    </a:lnTo>
                    <a:lnTo>
                      <a:pt x="117" y="492"/>
                    </a:lnTo>
                    <a:lnTo>
                      <a:pt x="119" y="485"/>
                    </a:lnTo>
                    <a:lnTo>
                      <a:pt x="122" y="480"/>
                    </a:lnTo>
                    <a:lnTo>
                      <a:pt x="122" y="476"/>
                    </a:lnTo>
                    <a:lnTo>
                      <a:pt x="125" y="473"/>
                    </a:lnTo>
                    <a:lnTo>
                      <a:pt x="127" y="469"/>
                    </a:lnTo>
                    <a:lnTo>
                      <a:pt x="124" y="466"/>
                    </a:lnTo>
                    <a:lnTo>
                      <a:pt x="125" y="461"/>
                    </a:lnTo>
                    <a:lnTo>
                      <a:pt x="125" y="456"/>
                    </a:lnTo>
                    <a:lnTo>
                      <a:pt x="119" y="453"/>
                    </a:lnTo>
                    <a:lnTo>
                      <a:pt x="115" y="451"/>
                    </a:lnTo>
                    <a:lnTo>
                      <a:pt x="112" y="449"/>
                    </a:lnTo>
                    <a:lnTo>
                      <a:pt x="107" y="451"/>
                    </a:lnTo>
                    <a:lnTo>
                      <a:pt x="103" y="451"/>
                    </a:lnTo>
                    <a:lnTo>
                      <a:pt x="100" y="447"/>
                    </a:lnTo>
                    <a:lnTo>
                      <a:pt x="97" y="449"/>
                    </a:lnTo>
                    <a:lnTo>
                      <a:pt x="95" y="453"/>
                    </a:lnTo>
                    <a:lnTo>
                      <a:pt x="91" y="449"/>
                    </a:lnTo>
                    <a:lnTo>
                      <a:pt x="88" y="449"/>
                    </a:lnTo>
                    <a:lnTo>
                      <a:pt x="83" y="451"/>
                    </a:lnTo>
                    <a:lnTo>
                      <a:pt x="78" y="451"/>
                    </a:lnTo>
                    <a:lnTo>
                      <a:pt x="74" y="453"/>
                    </a:lnTo>
                    <a:lnTo>
                      <a:pt x="69" y="453"/>
                    </a:lnTo>
                    <a:lnTo>
                      <a:pt x="69" y="458"/>
                    </a:lnTo>
                    <a:lnTo>
                      <a:pt x="68" y="461"/>
                    </a:lnTo>
                    <a:lnTo>
                      <a:pt x="62" y="461"/>
                    </a:lnTo>
                    <a:lnTo>
                      <a:pt x="57" y="463"/>
                    </a:lnTo>
                    <a:lnTo>
                      <a:pt x="52" y="466"/>
                    </a:lnTo>
                    <a:lnTo>
                      <a:pt x="47" y="469"/>
                    </a:lnTo>
                    <a:lnTo>
                      <a:pt x="44" y="469"/>
                    </a:lnTo>
                    <a:lnTo>
                      <a:pt x="40" y="468"/>
                    </a:lnTo>
                    <a:lnTo>
                      <a:pt x="40" y="464"/>
                    </a:lnTo>
                    <a:lnTo>
                      <a:pt x="40" y="461"/>
                    </a:lnTo>
                    <a:lnTo>
                      <a:pt x="42" y="456"/>
                    </a:lnTo>
                    <a:lnTo>
                      <a:pt x="37" y="454"/>
                    </a:lnTo>
                    <a:lnTo>
                      <a:pt x="34" y="456"/>
                    </a:lnTo>
                    <a:lnTo>
                      <a:pt x="32" y="453"/>
                    </a:lnTo>
                    <a:lnTo>
                      <a:pt x="34" y="449"/>
                    </a:lnTo>
                    <a:lnTo>
                      <a:pt x="32" y="444"/>
                    </a:lnTo>
                    <a:lnTo>
                      <a:pt x="32" y="441"/>
                    </a:lnTo>
                    <a:lnTo>
                      <a:pt x="30" y="436"/>
                    </a:lnTo>
                    <a:lnTo>
                      <a:pt x="30" y="429"/>
                    </a:lnTo>
                    <a:lnTo>
                      <a:pt x="34" y="424"/>
                    </a:lnTo>
                    <a:lnTo>
                      <a:pt x="30" y="419"/>
                    </a:lnTo>
                    <a:lnTo>
                      <a:pt x="28" y="415"/>
                    </a:lnTo>
                    <a:lnTo>
                      <a:pt x="27" y="412"/>
                    </a:lnTo>
                    <a:lnTo>
                      <a:pt x="28" y="407"/>
                    </a:lnTo>
                    <a:lnTo>
                      <a:pt x="23" y="403"/>
                    </a:lnTo>
                    <a:lnTo>
                      <a:pt x="20" y="402"/>
                    </a:lnTo>
                    <a:lnTo>
                      <a:pt x="20" y="398"/>
                    </a:lnTo>
                    <a:lnTo>
                      <a:pt x="20" y="395"/>
                    </a:lnTo>
                    <a:lnTo>
                      <a:pt x="20" y="391"/>
                    </a:lnTo>
                    <a:lnTo>
                      <a:pt x="23" y="386"/>
                    </a:lnTo>
                    <a:lnTo>
                      <a:pt x="27" y="385"/>
                    </a:lnTo>
                    <a:lnTo>
                      <a:pt x="27" y="378"/>
                    </a:lnTo>
                    <a:lnTo>
                      <a:pt x="27" y="374"/>
                    </a:lnTo>
                    <a:lnTo>
                      <a:pt x="27" y="371"/>
                    </a:lnTo>
                    <a:lnTo>
                      <a:pt x="32" y="368"/>
                    </a:lnTo>
                    <a:lnTo>
                      <a:pt x="35" y="363"/>
                    </a:lnTo>
                    <a:lnTo>
                      <a:pt x="40" y="358"/>
                    </a:lnTo>
                    <a:lnTo>
                      <a:pt x="42" y="352"/>
                    </a:lnTo>
                    <a:lnTo>
                      <a:pt x="40" y="344"/>
                    </a:lnTo>
                    <a:lnTo>
                      <a:pt x="44" y="341"/>
                    </a:lnTo>
                    <a:lnTo>
                      <a:pt x="44" y="335"/>
                    </a:lnTo>
                    <a:lnTo>
                      <a:pt x="44" y="332"/>
                    </a:lnTo>
                    <a:lnTo>
                      <a:pt x="40" y="327"/>
                    </a:lnTo>
                    <a:lnTo>
                      <a:pt x="40" y="322"/>
                    </a:lnTo>
                    <a:lnTo>
                      <a:pt x="45" y="317"/>
                    </a:lnTo>
                    <a:lnTo>
                      <a:pt x="45" y="313"/>
                    </a:lnTo>
                    <a:lnTo>
                      <a:pt x="49" y="310"/>
                    </a:lnTo>
                    <a:lnTo>
                      <a:pt x="49" y="303"/>
                    </a:lnTo>
                    <a:lnTo>
                      <a:pt x="47" y="300"/>
                    </a:lnTo>
                    <a:lnTo>
                      <a:pt x="47" y="296"/>
                    </a:lnTo>
                    <a:lnTo>
                      <a:pt x="44" y="295"/>
                    </a:lnTo>
                    <a:lnTo>
                      <a:pt x="45" y="290"/>
                    </a:lnTo>
                    <a:lnTo>
                      <a:pt x="47" y="286"/>
                    </a:lnTo>
                    <a:lnTo>
                      <a:pt x="44" y="283"/>
                    </a:lnTo>
                    <a:lnTo>
                      <a:pt x="44" y="280"/>
                    </a:lnTo>
                    <a:lnTo>
                      <a:pt x="35" y="273"/>
                    </a:lnTo>
                    <a:lnTo>
                      <a:pt x="34" y="269"/>
                    </a:lnTo>
                    <a:lnTo>
                      <a:pt x="37" y="269"/>
                    </a:lnTo>
                    <a:lnTo>
                      <a:pt x="40" y="264"/>
                    </a:lnTo>
                    <a:lnTo>
                      <a:pt x="44" y="263"/>
                    </a:lnTo>
                    <a:lnTo>
                      <a:pt x="47" y="261"/>
                    </a:lnTo>
                    <a:lnTo>
                      <a:pt x="52" y="261"/>
                    </a:lnTo>
                    <a:lnTo>
                      <a:pt x="54" y="257"/>
                    </a:lnTo>
                    <a:lnTo>
                      <a:pt x="59" y="252"/>
                    </a:lnTo>
                    <a:lnTo>
                      <a:pt x="57" y="249"/>
                    </a:lnTo>
                    <a:lnTo>
                      <a:pt x="56" y="244"/>
                    </a:lnTo>
                    <a:lnTo>
                      <a:pt x="56" y="239"/>
                    </a:lnTo>
                    <a:lnTo>
                      <a:pt x="57" y="235"/>
                    </a:lnTo>
                    <a:lnTo>
                      <a:pt x="52" y="229"/>
                    </a:lnTo>
                    <a:lnTo>
                      <a:pt x="47" y="229"/>
                    </a:lnTo>
                    <a:lnTo>
                      <a:pt x="42" y="224"/>
                    </a:lnTo>
                    <a:lnTo>
                      <a:pt x="39" y="220"/>
                    </a:lnTo>
                    <a:lnTo>
                      <a:pt x="35" y="220"/>
                    </a:lnTo>
                    <a:lnTo>
                      <a:pt x="30" y="220"/>
                    </a:lnTo>
                    <a:lnTo>
                      <a:pt x="23" y="220"/>
                    </a:lnTo>
                    <a:lnTo>
                      <a:pt x="20" y="218"/>
                    </a:lnTo>
                    <a:lnTo>
                      <a:pt x="17" y="215"/>
                    </a:lnTo>
                    <a:lnTo>
                      <a:pt x="17" y="208"/>
                    </a:lnTo>
                    <a:lnTo>
                      <a:pt x="17" y="205"/>
                    </a:lnTo>
                    <a:lnTo>
                      <a:pt x="22" y="198"/>
                    </a:lnTo>
                    <a:lnTo>
                      <a:pt x="20" y="195"/>
                    </a:lnTo>
                    <a:lnTo>
                      <a:pt x="23" y="190"/>
                    </a:lnTo>
                    <a:lnTo>
                      <a:pt x="23" y="186"/>
                    </a:lnTo>
                    <a:lnTo>
                      <a:pt x="23" y="181"/>
                    </a:lnTo>
                    <a:lnTo>
                      <a:pt x="25" y="178"/>
                    </a:lnTo>
                    <a:lnTo>
                      <a:pt x="20" y="174"/>
                    </a:lnTo>
                    <a:lnTo>
                      <a:pt x="15" y="171"/>
                    </a:lnTo>
                    <a:lnTo>
                      <a:pt x="8" y="169"/>
                    </a:lnTo>
                    <a:lnTo>
                      <a:pt x="5" y="171"/>
                    </a:lnTo>
                    <a:lnTo>
                      <a:pt x="1" y="168"/>
                    </a:lnTo>
                    <a:lnTo>
                      <a:pt x="0" y="163"/>
                    </a:lnTo>
                    <a:lnTo>
                      <a:pt x="0" y="159"/>
                    </a:lnTo>
                    <a:lnTo>
                      <a:pt x="0" y="152"/>
                    </a:lnTo>
                    <a:lnTo>
                      <a:pt x="1" y="147"/>
                    </a:lnTo>
                    <a:lnTo>
                      <a:pt x="5" y="146"/>
                    </a:lnTo>
                    <a:lnTo>
                      <a:pt x="6" y="142"/>
                    </a:lnTo>
                    <a:lnTo>
                      <a:pt x="1" y="137"/>
                    </a:lnTo>
                    <a:lnTo>
                      <a:pt x="6" y="132"/>
                    </a:lnTo>
                    <a:lnTo>
                      <a:pt x="10" y="130"/>
                    </a:lnTo>
                    <a:lnTo>
                      <a:pt x="11" y="127"/>
                    </a:lnTo>
                    <a:lnTo>
                      <a:pt x="11" y="123"/>
                    </a:lnTo>
                    <a:lnTo>
                      <a:pt x="8" y="118"/>
                    </a:lnTo>
                    <a:lnTo>
                      <a:pt x="8" y="113"/>
                    </a:lnTo>
                    <a:lnTo>
                      <a:pt x="13" y="113"/>
                    </a:lnTo>
                    <a:lnTo>
                      <a:pt x="15" y="107"/>
                    </a:lnTo>
                    <a:lnTo>
                      <a:pt x="15" y="103"/>
                    </a:lnTo>
                    <a:lnTo>
                      <a:pt x="17" y="100"/>
                    </a:lnTo>
                    <a:lnTo>
                      <a:pt x="17" y="93"/>
                    </a:lnTo>
                    <a:lnTo>
                      <a:pt x="22" y="93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7" y="95"/>
                    </a:lnTo>
                    <a:lnTo>
                      <a:pt x="37" y="98"/>
                    </a:lnTo>
                    <a:lnTo>
                      <a:pt x="40" y="98"/>
                    </a:lnTo>
                    <a:lnTo>
                      <a:pt x="49" y="91"/>
                    </a:lnTo>
                    <a:lnTo>
                      <a:pt x="54" y="90"/>
                    </a:lnTo>
                    <a:lnTo>
                      <a:pt x="59" y="90"/>
                    </a:lnTo>
                    <a:lnTo>
                      <a:pt x="62" y="88"/>
                    </a:lnTo>
                    <a:lnTo>
                      <a:pt x="66" y="86"/>
                    </a:lnTo>
                    <a:lnTo>
                      <a:pt x="69" y="88"/>
                    </a:lnTo>
                    <a:lnTo>
                      <a:pt x="71" y="91"/>
                    </a:lnTo>
                    <a:lnTo>
                      <a:pt x="76" y="95"/>
                    </a:lnTo>
                    <a:lnTo>
                      <a:pt x="81" y="100"/>
                    </a:lnTo>
                    <a:lnTo>
                      <a:pt x="85" y="100"/>
                    </a:lnTo>
                    <a:lnTo>
                      <a:pt x="88" y="103"/>
                    </a:lnTo>
                    <a:lnTo>
                      <a:pt x="85" y="110"/>
                    </a:lnTo>
                    <a:lnTo>
                      <a:pt x="80" y="113"/>
                    </a:lnTo>
                    <a:lnTo>
                      <a:pt x="81" y="117"/>
                    </a:lnTo>
                    <a:lnTo>
                      <a:pt x="88" y="117"/>
                    </a:lnTo>
                    <a:lnTo>
                      <a:pt x="93" y="115"/>
                    </a:lnTo>
                    <a:lnTo>
                      <a:pt x="98" y="117"/>
                    </a:lnTo>
                    <a:lnTo>
                      <a:pt x="102" y="120"/>
                    </a:lnTo>
                    <a:lnTo>
                      <a:pt x="105" y="120"/>
                    </a:lnTo>
                    <a:lnTo>
                      <a:pt x="110" y="120"/>
                    </a:lnTo>
                    <a:lnTo>
                      <a:pt x="114" y="120"/>
                    </a:lnTo>
                    <a:lnTo>
                      <a:pt x="119" y="123"/>
                    </a:lnTo>
                    <a:lnTo>
                      <a:pt x="124" y="122"/>
                    </a:lnTo>
                    <a:lnTo>
                      <a:pt x="127" y="120"/>
                    </a:lnTo>
                    <a:lnTo>
                      <a:pt x="132" y="120"/>
                    </a:lnTo>
                    <a:lnTo>
                      <a:pt x="141" y="120"/>
                    </a:lnTo>
                    <a:lnTo>
                      <a:pt x="146" y="122"/>
                    </a:lnTo>
                    <a:lnTo>
                      <a:pt x="149" y="120"/>
                    </a:lnTo>
                    <a:lnTo>
                      <a:pt x="153" y="122"/>
                    </a:lnTo>
                    <a:lnTo>
                      <a:pt x="153" y="117"/>
                    </a:lnTo>
                    <a:lnTo>
                      <a:pt x="154" y="113"/>
                    </a:lnTo>
                    <a:lnTo>
                      <a:pt x="156" y="108"/>
                    </a:lnTo>
                    <a:lnTo>
                      <a:pt x="161" y="105"/>
                    </a:lnTo>
                    <a:lnTo>
                      <a:pt x="166" y="103"/>
                    </a:lnTo>
                    <a:lnTo>
                      <a:pt x="165" y="98"/>
                    </a:lnTo>
                    <a:lnTo>
                      <a:pt x="163" y="91"/>
                    </a:lnTo>
                    <a:lnTo>
                      <a:pt x="165" y="88"/>
                    </a:lnTo>
                    <a:lnTo>
                      <a:pt x="166" y="83"/>
                    </a:lnTo>
                    <a:lnTo>
                      <a:pt x="170" y="78"/>
                    </a:lnTo>
                    <a:lnTo>
                      <a:pt x="170" y="74"/>
                    </a:lnTo>
                    <a:lnTo>
                      <a:pt x="168" y="69"/>
                    </a:lnTo>
                    <a:lnTo>
                      <a:pt x="171" y="68"/>
                    </a:lnTo>
                    <a:lnTo>
                      <a:pt x="171" y="64"/>
                    </a:lnTo>
                    <a:lnTo>
                      <a:pt x="176" y="64"/>
                    </a:lnTo>
                    <a:lnTo>
                      <a:pt x="183" y="62"/>
                    </a:lnTo>
                    <a:lnTo>
                      <a:pt x="185" y="59"/>
                    </a:lnTo>
                    <a:lnTo>
                      <a:pt x="183" y="52"/>
                    </a:lnTo>
                    <a:lnTo>
                      <a:pt x="188" y="51"/>
                    </a:lnTo>
                    <a:lnTo>
                      <a:pt x="193" y="49"/>
                    </a:lnTo>
                    <a:lnTo>
                      <a:pt x="197" y="49"/>
                    </a:lnTo>
                    <a:lnTo>
                      <a:pt x="204" y="49"/>
                    </a:lnTo>
                    <a:lnTo>
                      <a:pt x="207" y="45"/>
                    </a:lnTo>
                    <a:lnTo>
                      <a:pt x="214" y="44"/>
                    </a:lnTo>
                    <a:lnTo>
                      <a:pt x="217" y="44"/>
                    </a:lnTo>
                    <a:lnTo>
                      <a:pt x="221" y="40"/>
                    </a:lnTo>
                    <a:lnTo>
                      <a:pt x="224" y="42"/>
                    </a:lnTo>
                    <a:lnTo>
                      <a:pt x="228" y="40"/>
                    </a:lnTo>
                    <a:lnTo>
                      <a:pt x="233" y="42"/>
                    </a:lnTo>
                    <a:lnTo>
                      <a:pt x="236" y="45"/>
                    </a:lnTo>
                    <a:lnTo>
                      <a:pt x="241" y="49"/>
                    </a:lnTo>
                    <a:lnTo>
                      <a:pt x="248" y="47"/>
                    </a:lnTo>
                    <a:lnTo>
                      <a:pt x="251" y="45"/>
                    </a:lnTo>
                    <a:lnTo>
                      <a:pt x="251" y="42"/>
                    </a:lnTo>
                    <a:lnTo>
                      <a:pt x="256" y="39"/>
                    </a:lnTo>
                    <a:lnTo>
                      <a:pt x="258" y="35"/>
                    </a:lnTo>
                    <a:lnTo>
                      <a:pt x="262" y="32"/>
                    </a:lnTo>
                    <a:lnTo>
                      <a:pt x="267" y="34"/>
                    </a:lnTo>
                    <a:lnTo>
                      <a:pt x="273" y="39"/>
                    </a:lnTo>
                    <a:lnTo>
                      <a:pt x="277" y="39"/>
                    </a:lnTo>
                    <a:lnTo>
                      <a:pt x="282" y="39"/>
                    </a:lnTo>
                    <a:lnTo>
                      <a:pt x="287" y="34"/>
                    </a:lnTo>
                    <a:lnTo>
                      <a:pt x="292" y="32"/>
                    </a:lnTo>
                    <a:lnTo>
                      <a:pt x="296" y="30"/>
                    </a:lnTo>
                    <a:lnTo>
                      <a:pt x="297" y="34"/>
                    </a:lnTo>
                    <a:lnTo>
                      <a:pt x="302" y="37"/>
                    </a:lnTo>
                    <a:lnTo>
                      <a:pt x="307" y="37"/>
                    </a:lnTo>
                    <a:lnTo>
                      <a:pt x="316" y="37"/>
                    </a:lnTo>
                    <a:lnTo>
                      <a:pt x="319" y="40"/>
                    </a:lnTo>
                    <a:lnTo>
                      <a:pt x="321" y="44"/>
                    </a:lnTo>
                    <a:lnTo>
                      <a:pt x="324" y="45"/>
                    </a:lnTo>
                    <a:lnTo>
                      <a:pt x="330" y="42"/>
                    </a:lnTo>
                    <a:lnTo>
                      <a:pt x="333" y="37"/>
                    </a:lnTo>
                    <a:lnTo>
                      <a:pt x="338" y="37"/>
                    </a:lnTo>
                    <a:lnTo>
                      <a:pt x="347" y="35"/>
                    </a:lnTo>
                    <a:lnTo>
                      <a:pt x="350" y="34"/>
                    </a:lnTo>
                    <a:lnTo>
                      <a:pt x="353" y="29"/>
                    </a:lnTo>
                    <a:lnTo>
                      <a:pt x="360" y="27"/>
                    </a:lnTo>
                    <a:lnTo>
                      <a:pt x="365" y="22"/>
                    </a:lnTo>
                    <a:lnTo>
                      <a:pt x="369" y="20"/>
                    </a:lnTo>
                    <a:lnTo>
                      <a:pt x="377" y="18"/>
                    </a:lnTo>
                    <a:lnTo>
                      <a:pt x="384" y="15"/>
                    </a:lnTo>
                    <a:lnTo>
                      <a:pt x="387" y="15"/>
                    </a:lnTo>
                    <a:lnTo>
                      <a:pt x="393" y="15"/>
                    </a:lnTo>
                    <a:lnTo>
                      <a:pt x="394" y="10"/>
                    </a:lnTo>
                    <a:lnTo>
                      <a:pt x="399" y="10"/>
                    </a:lnTo>
                    <a:lnTo>
                      <a:pt x="403" y="10"/>
                    </a:lnTo>
                    <a:lnTo>
                      <a:pt x="404" y="6"/>
                    </a:lnTo>
                    <a:lnTo>
                      <a:pt x="408" y="5"/>
                    </a:lnTo>
                    <a:lnTo>
                      <a:pt x="415" y="5"/>
                    </a:lnTo>
                    <a:lnTo>
                      <a:pt x="418" y="3"/>
                    </a:lnTo>
                    <a:lnTo>
                      <a:pt x="421" y="1"/>
                    </a:lnTo>
                    <a:lnTo>
                      <a:pt x="427" y="0"/>
                    </a:lnTo>
                    <a:lnTo>
                      <a:pt x="435" y="0"/>
                    </a:lnTo>
                    <a:lnTo>
                      <a:pt x="438" y="1"/>
                    </a:lnTo>
                    <a:lnTo>
                      <a:pt x="440" y="1"/>
                    </a:lnTo>
                    <a:lnTo>
                      <a:pt x="442" y="6"/>
                    </a:lnTo>
                    <a:lnTo>
                      <a:pt x="438" y="8"/>
                    </a:lnTo>
                    <a:lnTo>
                      <a:pt x="437" y="12"/>
                    </a:lnTo>
                    <a:lnTo>
                      <a:pt x="435" y="17"/>
                    </a:lnTo>
                    <a:lnTo>
                      <a:pt x="433" y="20"/>
                    </a:lnTo>
                    <a:lnTo>
                      <a:pt x="428" y="22"/>
                    </a:lnTo>
                    <a:lnTo>
                      <a:pt x="421" y="22"/>
                    </a:lnTo>
                    <a:lnTo>
                      <a:pt x="416" y="25"/>
                    </a:lnTo>
                    <a:lnTo>
                      <a:pt x="415" y="30"/>
                    </a:lnTo>
                    <a:lnTo>
                      <a:pt x="418" y="37"/>
                    </a:lnTo>
                    <a:lnTo>
                      <a:pt x="418" y="42"/>
                    </a:lnTo>
                    <a:lnTo>
                      <a:pt x="420" y="45"/>
                    </a:lnTo>
                    <a:lnTo>
                      <a:pt x="423" y="47"/>
                    </a:lnTo>
                    <a:lnTo>
                      <a:pt x="427" y="51"/>
                    </a:lnTo>
                    <a:lnTo>
                      <a:pt x="427" y="54"/>
                    </a:lnTo>
                    <a:lnTo>
                      <a:pt x="425" y="57"/>
                    </a:lnTo>
                    <a:lnTo>
                      <a:pt x="425" y="62"/>
                    </a:lnTo>
                    <a:lnTo>
                      <a:pt x="430" y="62"/>
                    </a:lnTo>
                    <a:lnTo>
                      <a:pt x="435" y="66"/>
                    </a:lnTo>
                    <a:lnTo>
                      <a:pt x="437" y="71"/>
                    </a:lnTo>
                    <a:lnTo>
                      <a:pt x="440" y="74"/>
                    </a:lnTo>
                    <a:lnTo>
                      <a:pt x="444" y="71"/>
                    </a:lnTo>
                    <a:lnTo>
                      <a:pt x="452" y="69"/>
                    </a:lnTo>
                    <a:lnTo>
                      <a:pt x="454" y="73"/>
                    </a:lnTo>
                    <a:lnTo>
                      <a:pt x="459" y="76"/>
                    </a:lnTo>
                    <a:lnTo>
                      <a:pt x="459" y="81"/>
                    </a:lnTo>
                    <a:lnTo>
                      <a:pt x="462" y="84"/>
                    </a:lnTo>
                    <a:lnTo>
                      <a:pt x="461" y="90"/>
                    </a:lnTo>
                    <a:lnTo>
                      <a:pt x="455" y="95"/>
                    </a:lnTo>
                    <a:lnTo>
                      <a:pt x="459" y="98"/>
                    </a:lnTo>
                    <a:lnTo>
                      <a:pt x="455" y="103"/>
                    </a:lnTo>
                    <a:lnTo>
                      <a:pt x="462" y="107"/>
                    </a:lnTo>
                    <a:lnTo>
                      <a:pt x="467" y="105"/>
                    </a:lnTo>
                    <a:lnTo>
                      <a:pt x="472" y="107"/>
                    </a:lnTo>
                    <a:lnTo>
                      <a:pt x="476" y="112"/>
                    </a:lnTo>
                    <a:lnTo>
                      <a:pt x="478" y="115"/>
                    </a:lnTo>
                    <a:lnTo>
                      <a:pt x="479" y="118"/>
                    </a:lnTo>
                    <a:lnTo>
                      <a:pt x="481" y="127"/>
                    </a:lnTo>
                    <a:lnTo>
                      <a:pt x="486" y="130"/>
                    </a:lnTo>
                    <a:lnTo>
                      <a:pt x="489" y="134"/>
                    </a:lnTo>
                    <a:lnTo>
                      <a:pt x="495" y="135"/>
                    </a:lnTo>
                    <a:lnTo>
                      <a:pt x="498" y="137"/>
                    </a:lnTo>
                    <a:lnTo>
                      <a:pt x="505" y="137"/>
                    </a:lnTo>
                    <a:lnTo>
                      <a:pt x="501" y="142"/>
                    </a:lnTo>
                    <a:lnTo>
                      <a:pt x="496" y="144"/>
                    </a:lnTo>
                    <a:lnTo>
                      <a:pt x="491" y="151"/>
                    </a:lnTo>
                    <a:lnTo>
                      <a:pt x="488" y="154"/>
                    </a:lnTo>
                    <a:lnTo>
                      <a:pt x="484" y="154"/>
                    </a:lnTo>
                    <a:lnTo>
                      <a:pt x="483" y="157"/>
                    </a:lnTo>
                    <a:lnTo>
                      <a:pt x="481" y="163"/>
                    </a:lnTo>
                    <a:lnTo>
                      <a:pt x="476" y="161"/>
                    </a:lnTo>
                    <a:lnTo>
                      <a:pt x="472" y="159"/>
                    </a:lnTo>
                    <a:lnTo>
                      <a:pt x="467" y="159"/>
                    </a:lnTo>
                    <a:lnTo>
                      <a:pt x="466" y="163"/>
                    </a:lnTo>
                    <a:lnTo>
                      <a:pt x="462" y="164"/>
                    </a:lnTo>
                    <a:lnTo>
                      <a:pt x="457" y="163"/>
                    </a:lnTo>
                    <a:lnTo>
                      <a:pt x="450" y="161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1" name="Freeform 16">
                <a:extLst>
                  <a:ext uri="{FF2B5EF4-FFF2-40B4-BE49-F238E27FC236}">
                    <a16:creationId xmlns:a16="http://schemas.microsoft.com/office/drawing/2014/main" id="{05CC0162-E0EC-1F34-25F8-A264CF325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877888"/>
                <a:ext cx="969962" cy="1050925"/>
              </a:xfrm>
              <a:custGeom>
                <a:avLst/>
                <a:gdLst>
                  <a:gd name="T0" fmla="*/ 442 w 611"/>
                  <a:gd name="T1" fmla="*/ 175 h 662"/>
                  <a:gd name="T2" fmla="*/ 442 w 611"/>
                  <a:gd name="T3" fmla="*/ 209 h 662"/>
                  <a:gd name="T4" fmla="*/ 441 w 611"/>
                  <a:gd name="T5" fmla="*/ 258 h 662"/>
                  <a:gd name="T6" fmla="*/ 473 w 611"/>
                  <a:gd name="T7" fmla="*/ 287 h 662"/>
                  <a:gd name="T8" fmla="*/ 499 w 611"/>
                  <a:gd name="T9" fmla="*/ 304 h 662"/>
                  <a:gd name="T10" fmla="*/ 529 w 611"/>
                  <a:gd name="T11" fmla="*/ 287 h 662"/>
                  <a:gd name="T12" fmla="*/ 556 w 611"/>
                  <a:gd name="T13" fmla="*/ 296 h 662"/>
                  <a:gd name="T14" fmla="*/ 579 w 611"/>
                  <a:gd name="T15" fmla="*/ 304 h 662"/>
                  <a:gd name="T16" fmla="*/ 596 w 611"/>
                  <a:gd name="T17" fmla="*/ 338 h 662"/>
                  <a:gd name="T18" fmla="*/ 599 w 611"/>
                  <a:gd name="T19" fmla="*/ 362 h 662"/>
                  <a:gd name="T20" fmla="*/ 551 w 611"/>
                  <a:gd name="T21" fmla="*/ 380 h 662"/>
                  <a:gd name="T22" fmla="*/ 504 w 611"/>
                  <a:gd name="T23" fmla="*/ 411 h 662"/>
                  <a:gd name="T24" fmla="*/ 454 w 611"/>
                  <a:gd name="T25" fmla="*/ 436 h 662"/>
                  <a:gd name="T26" fmla="*/ 425 w 611"/>
                  <a:gd name="T27" fmla="*/ 465 h 662"/>
                  <a:gd name="T28" fmla="*/ 419 w 611"/>
                  <a:gd name="T29" fmla="*/ 509 h 662"/>
                  <a:gd name="T30" fmla="*/ 429 w 611"/>
                  <a:gd name="T31" fmla="*/ 550 h 662"/>
                  <a:gd name="T32" fmla="*/ 460 w 611"/>
                  <a:gd name="T33" fmla="*/ 586 h 662"/>
                  <a:gd name="T34" fmla="*/ 477 w 611"/>
                  <a:gd name="T35" fmla="*/ 619 h 662"/>
                  <a:gd name="T36" fmla="*/ 446 w 611"/>
                  <a:gd name="T37" fmla="*/ 660 h 662"/>
                  <a:gd name="T38" fmla="*/ 420 w 611"/>
                  <a:gd name="T39" fmla="*/ 628 h 662"/>
                  <a:gd name="T40" fmla="*/ 397 w 611"/>
                  <a:gd name="T41" fmla="*/ 619 h 662"/>
                  <a:gd name="T42" fmla="*/ 359 w 611"/>
                  <a:gd name="T43" fmla="*/ 603 h 662"/>
                  <a:gd name="T44" fmla="*/ 312 w 611"/>
                  <a:gd name="T45" fmla="*/ 606 h 662"/>
                  <a:gd name="T46" fmla="*/ 281 w 611"/>
                  <a:gd name="T47" fmla="*/ 623 h 662"/>
                  <a:gd name="T48" fmla="*/ 242 w 611"/>
                  <a:gd name="T49" fmla="*/ 628 h 662"/>
                  <a:gd name="T50" fmla="*/ 204 w 611"/>
                  <a:gd name="T51" fmla="*/ 618 h 662"/>
                  <a:gd name="T52" fmla="*/ 165 w 611"/>
                  <a:gd name="T53" fmla="*/ 587 h 662"/>
                  <a:gd name="T54" fmla="*/ 141 w 611"/>
                  <a:gd name="T55" fmla="*/ 569 h 662"/>
                  <a:gd name="T56" fmla="*/ 121 w 611"/>
                  <a:gd name="T57" fmla="*/ 567 h 662"/>
                  <a:gd name="T58" fmla="*/ 95 w 611"/>
                  <a:gd name="T59" fmla="*/ 545 h 662"/>
                  <a:gd name="T60" fmla="*/ 61 w 611"/>
                  <a:gd name="T61" fmla="*/ 514 h 662"/>
                  <a:gd name="T62" fmla="*/ 24 w 611"/>
                  <a:gd name="T63" fmla="*/ 489 h 662"/>
                  <a:gd name="T64" fmla="*/ 24 w 611"/>
                  <a:gd name="T65" fmla="*/ 458 h 662"/>
                  <a:gd name="T66" fmla="*/ 5 w 611"/>
                  <a:gd name="T67" fmla="*/ 436 h 662"/>
                  <a:gd name="T68" fmla="*/ 21 w 611"/>
                  <a:gd name="T69" fmla="*/ 363 h 662"/>
                  <a:gd name="T70" fmla="*/ 51 w 611"/>
                  <a:gd name="T71" fmla="*/ 313 h 662"/>
                  <a:gd name="T72" fmla="*/ 53 w 611"/>
                  <a:gd name="T73" fmla="*/ 350 h 662"/>
                  <a:gd name="T74" fmla="*/ 84 w 611"/>
                  <a:gd name="T75" fmla="*/ 360 h 662"/>
                  <a:gd name="T76" fmla="*/ 119 w 611"/>
                  <a:gd name="T77" fmla="*/ 357 h 662"/>
                  <a:gd name="T78" fmla="*/ 140 w 611"/>
                  <a:gd name="T79" fmla="*/ 323 h 662"/>
                  <a:gd name="T80" fmla="*/ 153 w 611"/>
                  <a:gd name="T81" fmla="*/ 282 h 662"/>
                  <a:gd name="T82" fmla="*/ 184 w 611"/>
                  <a:gd name="T83" fmla="*/ 265 h 662"/>
                  <a:gd name="T84" fmla="*/ 223 w 611"/>
                  <a:gd name="T85" fmla="*/ 243 h 662"/>
                  <a:gd name="T86" fmla="*/ 257 w 611"/>
                  <a:gd name="T87" fmla="*/ 257 h 662"/>
                  <a:gd name="T88" fmla="*/ 259 w 611"/>
                  <a:gd name="T89" fmla="*/ 224 h 662"/>
                  <a:gd name="T90" fmla="*/ 289 w 611"/>
                  <a:gd name="T91" fmla="*/ 207 h 662"/>
                  <a:gd name="T92" fmla="*/ 320 w 611"/>
                  <a:gd name="T93" fmla="*/ 180 h 662"/>
                  <a:gd name="T94" fmla="*/ 306 w 611"/>
                  <a:gd name="T95" fmla="*/ 156 h 662"/>
                  <a:gd name="T96" fmla="*/ 283 w 611"/>
                  <a:gd name="T97" fmla="*/ 128 h 662"/>
                  <a:gd name="T98" fmla="*/ 289 w 611"/>
                  <a:gd name="T99" fmla="*/ 104 h 662"/>
                  <a:gd name="T100" fmla="*/ 283 w 611"/>
                  <a:gd name="T101" fmla="*/ 72 h 662"/>
                  <a:gd name="T102" fmla="*/ 323 w 611"/>
                  <a:gd name="T103" fmla="*/ 51 h 662"/>
                  <a:gd name="T104" fmla="*/ 344 w 611"/>
                  <a:gd name="T105" fmla="*/ 19 h 662"/>
                  <a:gd name="T106" fmla="*/ 374 w 611"/>
                  <a:gd name="T107" fmla="*/ 29 h 662"/>
                  <a:gd name="T108" fmla="*/ 415 w 611"/>
                  <a:gd name="T109" fmla="*/ 23 h 662"/>
                  <a:gd name="T110" fmla="*/ 453 w 611"/>
                  <a:gd name="T111" fmla="*/ 0 h 662"/>
                  <a:gd name="T112" fmla="*/ 499 w 611"/>
                  <a:gd name="T113" fmla="*/ 7 h 662"/>
                  <a:gd name="T114" fmla="*/ 505 w 611"/>
                  <a:gd name="T115" fmla="*/ 46 h 662"/>
                  <a:gd name="T116" fmla="*/ 480 w 611"/>
                  <a:gd name="T117" fmla="*/ 70 h 662"/>
                  <a:gd name="T118" fmla="*/ 446 w 611"/>
                  <a:gd name="T119" fmla="*/ 97 h 662"/>
                  <a:gd name="T120" fmla="*/ 422 w 611"/>
                  <a:gd name="T121" fmla="*/ 126 h 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11" h="662">
                    <a:moveTo>
                      <a:pt x="419" y="156"/>
                    </a:moveTo>
                    <a:lnTo>
                      <a:pt x="422" y="160"/>
                    </a:lnTo>
                    <a:lnTo>
                      <a:pt x="425" y="160"/>
                    </a:lnTo>
                    <a:lnTo>
                      <a:pt x="431" y="160"/>
                    </a:lnTo>
                    <a:lnTo>
                      <a:pt x="432" y="163"/>
                    </a:lnTo>
                    <a:lnTo>
                      <a:pt x="431" y="167"/>
                    </a:lnTo>
                    <a:lnTo>
                      <a:pt x="434" y="167"/>
                    </a:lnTo>
                    <a:lnTo>
                      <a:pt x="441" y="167"/>
                    </a:lnTo>
                    <a:lnTo>
                      <a:pt x="441" y="170"/>
                    </a:lnTo>
                    <a:lnTo>
                      <a:pt x="442" y="175"/>
                    </a:lnTo>
                    <a:lnTo>
                      <a:pt x="444" y="179"/>
                    </a:lnTo>
                    <a:lnTo>
                      <a:pt x="449" y="182"/>
                    </a:lnTo>
                    <a:lnTo>
                      <a:pt x="454" y="184"/>
                    </a:lnTo>
                    <a:lnTo>
                      <a:pt x="454" y="189"/>
                    </a:lnTo>
                    <a:lnTo>
                      <a:pt x="456" y="194"/>
                    </a:lnTo>
                    <a:lnTo>
                      <a:pt x="454" y="197"/>
                    </a:lnTo>
                    <a:lnTo>
                      <a:pt x="453" y="202"/>
                    </a:lnTo>
                    <a:lnTo>
                      <a:pt x="449" y="206"/>
                    </a:lnTo>
                    <a:lnTo>
                      <a:pt x="446" y="207"/>
                    </a:lnTo>
                    <a:lnTo>
                      <a:pt x="442" y="209"/>
                    </a:lnTo>
                    <a:lnTo>
                      <a:pt x="439" y="214"/>
                    </a:lnTo>
                    <a:lnTo>
                      <a:pt x="437" y="218"/>
                    </a:lnTo>
                    <a:lnTo>
                      <a:pt x="434" y="221"/>
                    </a:lnTo>
                    <a:lnTo>
                      <a:pt x="432" y="224"/>
                    </a:lnTo>
                    <a:lnTo>
                      <a:pt x="436" y="229"/>
                    </a:lnTo>
                    <a:lnTo>
                      <a:pt x="437" y="234"/>
                    </a:lnTo>
                    <a:lnTo>
                      <a:pt x="439" y="240"/>
                    </a:lnTo>
                    <a:lnTo>
                      <a:pt x="441" y="243"/>
                    </a:lnTo>
                    <a:lnTo>
                      <a:pt x="439" y="253"/>
                    </a:lnTo>
                    <a:lnTo>
                      <a:pt x="441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49" y="262"/>
                    </a:lnTo>
                    <a:lnTo>
                      <a:pt x="454" y="265"/>
                    </a:lnTo>
                    <a:lnTo>
                      <a:pt x="460" y="265"/>
                    </a:lnTo>
                    <a:lnTo>
                      <a:pt x="461" y="270"/>
                    </a:lnTo>
                    <a:lnTo>
                      <a:pt x="463" y="274"/>
                    </a:lnTo>
                    <a:lnTo>
                      <a:pt x="466" y="279"/>
                    </a:lnTo>
                    <a:lnTo>
                      <a:pt x="470" y="284"/>
                    </a:lnTo>
                    <a:lnTo>
                      <a:pt x="473" y="287"/>
                    </a:lnTo>
                    <a:lnTo>
                      <a:pt x="475" y="292"/>
                    </a:lnTo>
                    <a:lnTo>
                      <a:pt x="473" y="296"/>
                    </a:lnTo>
                    <a:lnTo>
                      <a:pt x="475" y="299"/>
                    </a:lnTo>
                    <a:lnTo>
                      <a:pt x="480" y="299"/>
                    </a:lnTo>
                    <a:lnTo>
                      <a:pt x="483" y="302"/>
                    </a:lnTo>
                    <a:lnTo>
                      <a:pt x="483" y="299"/>
                    </a:lnTo>
                    <a:lnTo>
                      <a:pt x="487" y="294"/>
                    </a:lnTo>
                    <a:lnTo>
                      <a:pt x="490" y="297"/>
                    </a:lnTo>
                    <a:lnTo>
                      <a:pt x="495" y="301"/>
                    </a:lnTo>
                    <a:lnTo>
                      <a:pt x="499" y="304"/>
                    </a:lnTo>
                    <a:lnTo>
                      <a:pt x="500" y="307"/>
                    </a:lnTo>
                    <a:lnTo>
                      <a:pt x="504" y="309"/>
                    </a:lnTo>
                    <a:lnTo>
                      <a:pt x="509" y="306"/>
                    </a:lnTo>
                    <a:lnTo>
                      <a:pt x="512" y="301"/>
                    </a:lnTo>
                    <a:lnTo>
                      <a:pt x="514" y="297"/>
                    </a:lnTo>
                    <a:lnTo>
                      <a:pt x="517" y="294"/>
                    </a:lnTo>
                    <a:lnTo>
                      <a:pt x="521" y="297"/>
                    </a:lnTo>
                    <a:lnTo>
                      <a:pt x="524" y="292"/>
                    </a:lnTo>
                    <a:lnTo>
                      <a:pt x="526" y="289"/>
                    </a:lnTo>
                    <a:lnTo>
                      <a:pt x="529" y="287"/>
                    </a:lnTo>
                    <a:lnTo>
                      <a:pt x="534" y="289"/>
                    </a:lnTo>
                    <a:lnTo>
                      <a:pt x="534" y="294"/>
                    </a:lnTo>
                    <a:lnTo>
                      <a:pt x="534" y="297"/>
                    </a:lnTo>
                    <a:lnTo>
                      <a:pt x="539" y="297"/>
                    </a:lnTo>
                    <a:lnTo>
                      <a:pt x="541" y="292"/>
                    </a:lnTo>
                    <a:lnTo>
                      <a:pt x="543" y="289"/>
                    </a:lnTo>
                    <a:lnTo>
                      <a:pt x="548" y="287"/>
                    </a:lnTo>
                    <a:lnTo>
                      <a:pt x="551" y="287"/>
                    </a:lnTo>
                    <a:lnTo>
                      <a:pt x="551" y="292"/>
                    </a:lnTo>
                    <a:lnTo>
                      <a:pt x="556" y="296"/>
                    </a:lnTo>
                    <a:lnTo>
                      <a:pt x="562" y="296"/>
                    </a:lnTo>
                    <a:lnTo>
                      <a:pt x="565" y="296"/>
                    </a:lnTo>
                    <a:lnTo>
                      <a:pt x="570" y="297"/>
                    </a:lnTo>
                    <a:lnTo>
                      <a:pt x="572" y="292"/>
                    </a:lnTo>
                    <a:lnTo>
                      <a:pt x="572" y="287"/>
                    </a:lnTo>
                    <a:lnTo>
                      <a:pt x="577" y="290"/>
                    </a:lnTo>
                    <a:lnTo>
                      <a:pt x="577" y="296"/>
                    </a:lnTo>
                    <a:lnTo>
                      <a:pt x="580" y="297"/>
                    </a:lnTo>
                    <a:lnTo>
                      <a:pt x="579" y="301"/>
                    </a:lnTo>
                    <a:lnTo>
                      <a:pt x="579" y="304"/>
                    </a:lnTo>
                    <a:lnTo>
                      <a:pt x="580" y="307"/>
                    </a:lnTo>
                    <a:lnTo>
                      <a:pt x="582" y="313"/>
                    </a:lnTo>
                    <a:lnTo>
                      <a:pt x="587" y="316"/>
                    </a:lnTo>
                    <a:lnTo>
                      <a:pt x="585" y="321"/>
                    </a:lnTo>
                    <a:lnTo>
                      <a:pt x="589" y="323"/>
                    </a:lnTo>
                    <a:lnTo>
                      <a:pt x="587" y="326"/>
                    </a:lnTo>
                    <a:lnTo>
                      <a:pt x="592" y="326"/>
                    </a:lnTo>
                    <a:lnTo>
                      <a:pt x="592" y="329"/>
                    </a:lnTo>
                    <a:lnTo>
                      <a:pt x="596" y="333"/>
                    </a:lnTo>
                    <a:lnTo>
                      <a:pt x="596" y="338"/>
                    </a:lnTo>
                    <a:lnTo>
                      <a:pt x="599" y="340"/>
                    </a:lnTo>
                    <a:lnTo>
                      <a:pt x="599" y="343"/>
                    </a:lnTo>
                    <a:lnTo>
                      <a:pt x="601" y="346"/>
                    </a:lnTo>
                    <a:lnTo>
                      <a:pt x="602" y="350"/>
                    </a:lnTo>
                    <a:lnTo>
                      <a:pt x="602" y="353"/>
                    </a:lnTo>
                    <a:lnTo>
                      <a:pt x="606" y="352"/>
                    </a:lnTo>
                    <a:lnTo>
                      <a:pt x="611" y="357"/>
                    </a:lnTo>
                    <a:lnTo>
                      <a:pt x="606" y="360"/>
                    </a:lnTo>
                    <a:lnTo>
                      <a:pt x="602" y="362"/>
                    </a:lnTo>
                    <a:lnTo>
                      <a:pt x="599" y="362"/>
                    </a:lnTo>
                    <a:lnTo>
                      <a:pt x="594" y="362"/>
                    </a:lnTo>
                    <a:lnTo>
                      <a:pt x="589" y="363"/>
                    </a:lnTo>
                    <a:lnTo>
                      <a:pt x="584" y="365"/>
                    </a:lnTo>
                    <a:lnTo>
                      <a:pt x="577" y="367"/>
                    </a:lnTo>
                    <a:lnTo>
                      <a:pt x="572" y="368"/>
                    </a:lnTo>
                    <a:lnTo>
                      <a:pt x="568" y="370"/>
                    </a:lnTo>
                    <a:lnTo>
                      <a:pt x="565" y="370"/>
                    </a:lnTo>
                    <a:lnTo>
                      <a:pt x="562" y="374"/>
                    </a:lnTo>
                    <a:lnTo>
                      <a:pt x="555" y="379"/>
                    </a:lnTo>
                    <a:lnTo>
                      <a:pt x="551" y="380"/>
                    </a:lnTo>
                    <a:lnTo>
                      <a:pt x="548" y="384"/>
                    </a:lnTo>
                    <a:lnTo>
                      <a:pt x="545" y="385"/>
                    </a:lnTo>
                    <a:lnTo>
                      <a:pt x="538" y="389"/>
                    </a:lnTo>
                    <a:lnTo>
                      <a:pt x="534" y="392"/>
                    </a:lnTo>
                    <a:lnTo>
                      <a:pt x="529" y="396"/>
                    </a:lnTo>
                    <a:lnTo>
                      <a:pt x="524" y="401"/>
                    </a:lnTo>
                    <a:lnTo>
                      <a:pt x="521" y="402"/>
                    </a:lnTo>
                    <a:lnTo>
                      <a:pt x="514" y="406"/>
                    </a:lnTo>
                    <a:lnTo>
                      <a:pt x="509" y="407"/>
                    </a:lnTo>
                    <a:lnTo>
                      <a:pt x="504" y="411"/>
                    </a:lnTo>
                    <a:lnTo>
                      <a:pt x="499" y="413"/>
                    </a:lnTo>
                    <a:lnTo>
                      <a:pt x="494" y="416"/>
                    </a:lnTo>
                    <a:lnTo>
                      <a:pt x="490" y="418"/>
                    </a:lnTo>
                    <a:lnTo>
                      <a:pt x="487" y="421"/>
                    </a:lnTo>
                    <a:lnTo>
                      <a:pt x="483" y="421"/>
                    </a:lnTo>
                    <a:lnTo>
                      <a:pt x="480" y="424"/>
                    </a:lnTo>
                    <a:lnTo>
                      <a:pt x="475" y="426"/>
                    </a:lnTo>
                    <a:lnTo>
                      <a:pt x="463" y="431"/>
                    </a:lnTo>
                    <a:lnTo>
                      <a:pt x="460" y="435"/>
                    </a:lnTo>
                    <a:lnTo>
                      <a:pt x="454" y="436"/>
                    </a:lnTo>
                    <a:lnTo>
                      <a:pt x="451" y="441"/>
                    </a:lnTo>
                    <a:lnTo>
                      <a:pt x="446" y="441"/>
                    </a:lnTo>
                    <a:lnTo>
                      <a:pt x="442" y="440"/>
                    </a:lnTo>
                    <a:lnTo>
                      <a:pt x="439" y="443"/>
                    </a:lnTo>
                    <a:lnTo>
                      <a:pt x="436" y="446"/>
                    </a:lnTo>
                    <a:lnTo>
                      <a:pt x="434" y="450"/>
                    </a:lnTo>
                    <a:lnTo>
                      <a:pt x="432" y="453"/>
                    </a:lnTo>
                    <a:lnTo>
                      <a:pt x="429" y="458"/>
                    </a:lnTo>
                    <a:lnTo>
                      <a:pt x="429" y="462"/>
                    </a:lnTo>
                    <a:lnTo>
                      <a:pt x="425" y="465"/>
                    </a:lnTo>
                    <a:lnTo>
                      <a:pt x="425" y="469"/>
                    </a:lnTo>
                    <a:lnTo>
                      <a:pt x="425" y="474"/>
                    </a:lnTo>
                    <a:lnTo>
                      <a:pt x="429" y="474"/>
                    </a:lnTo>
                    <a:lnTo>
                      <a:pt x="425" y="475"/>
                    </a:lnTo>
                    <a:lnTo>
                      <a:pt x="424" y="479"/>
                    </a:lnTo>
                    <a:lnTo>
                      <a:pt x="422" y="484"/>
                    </a:lnTo>
                    <a:lnTo>
                      <a:pt x="420" y="491"/>
                    </a:lnTo>
                    <a:lnTo>
                      <a:pt x="419" y="501"/>
                    </a:lnTo>
                    <a:lnTo>
                      <a:pt x="419" y="504"/>
                    </a:lnTo>
                    <a:lnTo>
                      <a:pt x="419" y="509"/>
                    </a:lnTo>
                    <a:lnTo>
                      <a:pt x="424" y="509"/>
                    </a:lnTo>
                    <a:lnTo>
                      <a:pt x="420" y="513"/>
                    </a:lnTo>
                    <a:lnTo>
                      <a:pt x="420" y="518"/>
                    </a:lnTo>
                    <a:lnTo>
                      <a:pt x="422" y="521"/>
                    </a:lnTo>
                    <a:lnTo>
                      <a:pt x="424" y="526"/>
                    </a:lnTo>
                    <a:lnTo>
                      <a:pt x="427" y="533"/>
                    </a:lnTo>
                    <a:lnTo>
                      <a:pt x="429" y="536"/>
                    </a:lnTo>
                    <a:lnTo>
                      <a:pt x="429" y="543"/>
                    </a:lnTo>
                    <a:lnTo>
                      <a:pt x="429" y="547"/>
                    </a:lnTo>
                    <a:lnTo>
                      <a:pt x="429" y="550"/>
                    </a:lnTo>
                    <a:lnTo>
                      <a:pt x="431" y="557"/>
                    </a:lnTo>
                    <a:lnTo>
                      <a:pt x="434" y="562"/>
                    </a:lnTo>
                    <a:lnTo>
                      <a:pt x="436" y="565"/>
                    </a:lnTo>
                    <a:lnTo>
                      <a:pt x="436" y="569"/>
                    </a:lnTo>
                    <a:lnTo>
                      <a:pt x="441" y="569"/>
                    </a:lnTo>
                    <a:lnTo>
                      <a:pt x="444" y="572"/>
                    </a:lnTo>
                    <a:lnTo>
                      <a:pt x="449" y="575"/>
                    </a:lnTo>
                    <a:lnTo>
                      <a:pt x="453" y="580"/>
                    </a:lnTo>
                    <a:lnTo>
                      <a:pt x="456" y="584"/>
                    </a:lnTo>
                    <a:lnTo>
                      <a:pt x="460" y="586"/>
                    </a:lnTo>
                    <a:lnTo>
                      <a:pt x="463" y="589"/>
                    </a:lnTo>
                    <a:lnTo>
                      <a:pt x="470" y="592"/>
                    </a:lnTo>
                    <a:lnTo>
                      <a:pt x="473" y="594"/>
                    </a:lnTo>
                    <a:lnTo>
                      <a:pt x="478" y="594"/>
                    </a:lnTo>
                    <a:lnTo>
                      <a:pt x="485" y="597"/>
                    </a:lnTo>
                    <a:lnTo>
                      <a:pt x="487" y="601"/>
                    </a:lnTo>
                    <a:lnTo>
                      <a:pt x="483" y="604"/>
                    </a:lnTo>
                    <a:lnTo>
                      <a:pt x="480" y="611"/>
                    </a:lnTo>
                    <a:lnTo>
                      <a:pt x="477" y="616"/>
                    </a:lnTo>
                    <a:lnTo>
                      <a:pt x="477" y="619"/>
                    </a:lnTo>
                    <a:lnTo>
                      <a:pt x="475" y="625"/>
                    </a:lnTo>
                    <a:lnTo>
                      <a:pt x="471" y="633"/>
                    </a:lnTo>
                    <a:lnTo>
                      <a:pt x="466" y="645"/>
                    </a:lnTo>
                    <a:lnTo>
                      <a:pt x="463" y="648"/>
                    </a:lnTo>
                    <a:lnTo>
                      <a:pt x="460" y="650"/>
                    </a:lnTo>
                    <a:lnTo>
                      <a:pt x="454" y="655"/>
                    </a:lnTo>
                    <a:lnTo>
                      <a:pt x="456" y="658"/>
                    </a:lnTo>
                    <a:lnTo>
                      <a:pt x="453" y="662"/>
                    </a:lnTo>
                    <a:lnTo>
                      <a:pt x="449" y="662"/>
                    </a:lnTo>
                    <a:lnTo>
                      <a:pt x="446" y="660"/>
                    </a:lnTo>
                    <a:lnTo>
                      <a:pt x="442" y="658"/>
                    </a:lnTo>
                    <a:lnTo>
                      <a:pt x="437" y="652"/>
                    </a:lnTo>
                    <a:lnTo>
                      <a:pt x="436" y="648"/>
                    </a:lnTo>
                    <a:lnTo>
                      <a:pt x="436" y="645"/>
                    </a:lnTo>
                    <a:lnTo>
                      <a:pt x="431" y="643"/>
                    </a:lnTo>
                    <a:lnTo>
                      <a:pt x="425" y="643"/>
                    </a:lnTo>
                    <a:lnTo>
                      <a:pt x="422" y="638"/>
                    </a:lnTo>
                    <a:lnTo>
                      <a:pt x="422" y="635"/>
                    </a:lnTo>
                    <a:lnTo>
                      <a:pt x="420" y="631"/>
                    </a:lnTo>
                    <a:lnTo>
                      <a:pt x="420" y="628"/>
                    </a:lnTo>
                    <a:lnTo>
                      <a:pt x="420" y="625"/>
                    </a:lnTo>
                    <a:lnTo>
                      <a:pt x="422" y="621"/>
                    </a:lnTo>
                    <a:lnTo>
                      <a:pt x="422" y="616"/>
                    </a:lnTo>
                    <a:lnTo>
                      <a:pt x="420" y="613"/>
                    </a:lnTo>
                    <a:lnTo>
                      <a:pt x="414" y="613"/>
                    </a:lnTo>
                    <a:lnTo>
                      <a:pt x="408" y="616"/>
                    </a:lnTo>
                    <a:lnTo>
                      <a:pt x="407" y="619"/>
                    </a:lnTo>
                    <a:lnTo>
                      <a:pt x="403" y="619"/>
                    </a:lnTo>
                    <a:lnTo>
                      <a:pt x="400" y="619"/>
                    </a:lnTo>
                    <a:lnTo>
                      <a:pt x="397" y="619"/>
                    </a:lnTo>
                    <a:lnTo>
                      <a:pt x="393" y="614"/>
                    </a:lnTo>
                    <a:lnTo>
                      <a:pt x="390" y="614"/>
                    </a:lnTo>
                    <a:lnTo>
                      <a:pt x="385" y="619"/>
                    </a:lnTo>
                    <a:lnTo>
                      <a:pt x="381" y="616"/>
                    </a:lnTo>
                    <a:lnTo>
                      <a:pt x="378" y="611"/>
                    </a:lnTo>
                    <a:lnTo>
                      <a:pt x="378" y="608"/>
                    </a:lnTo>
                    <a:lnTo>
                      <a:pt x="374" y="606"/>
                    </a:lnTo>
                    <a:lnTo>
                      <a:pt x="368" y="604"/>
                    </a:lnTo>
                    <a:lnTo>
                      <a:pt x="363" y="604"/>
                    </a:lnTo>
                    <a:lnTo>
                      <a:pt x="359" y="603"/>
                    </a:lnTo>
                    <a:lnTo>
                      <a:pt x="352" y="603"/>
                    </a:lnTo>
                    <a:lnTo>
                      <a:pt x="349" y="601"/>
                    </a:lnTo>
                    <a:lnTo>
                      <a:pt x="346" y="601"/>
                    </a:lnTo>
                    <a:lnTo>
                      <a:pt x="339" y="601"/>
                    </a:lnTo>
                    <a:lnTo>
                      <a:pt x="335" y="603"/>
                    </a:lnTo>
                    <a:lnTo>
                      <a:pt x="332" y="604"/>
                    </a:lnTo>
                    <a:lnTo>
                      <a:pt x="327" y="604"/>
                    </a:lnTo>
                    <a:lnTo>
                      <a:pt x="323" y="604"/>
                    </a:lnTo>
                    <a:lnTo>
                      <a:pt x="320" y="604"/>
                    </a:lnTo>
                    <a:lnTo>
                      <a:pt x="312" y="606"/>
                    </a:lnTo>
                    <a:lnTo>
                      <a:pt x="308" y="606"/>
                    </a:lnTo>
                    <a:lnTo>
                      <a:pt x="305" y="604"/>
                    </a:lnTo>
                    <a:lnTo>
                      <a:pt x="301" y="604"/>
                    </a:lnTo>
                    <a:lnTo>
                      <a:pt x="296" y="608"/>
                    </a:lnTo>
                    <a:lnTo>
                      <a:pt x="291" y="611"/>
                    </a:lnTo>
                    <a:lnTo>
                      <a:pt x="288" y="611"/>
                    </a:lnTo>
                    <a:lnTo>
                      <a:pt x="284" y="613"/>
                    </a:lnTo>
                    <a:lnTo>
                      <a:pt x="284" y="618"/>
                    </a:lnTo>
                    <a:lnTo>
                      <a:pt x="284" y="621"/>
                    </a:lnTo>
                    <a:lnTo>
                      <a:pt x="281" y="623"/>
                    </a:lnTo>
                    <a:lnTo>
                      <a:pt x="277" y="623"/>
                    </a:lnTo>
                    <a:lnTo>
                      <a:pt x="274" y="625"/>
                    </a:lnTo>
                    <a:lnTo>
                      <a:pt x="269" y="628"/>
                    </a:lnTo>
                    <a:lnTo>
                      <a:pt x="266" y="630"/>
                    </a:lnTo>
                    <a:lnTo>
                      <a:pt x="260" y="633"/>
                    </a:lnTo>
                    <a:lnTo>
                      <a:pt x="255" y="638"/>
                    </a:lnTo>
                    <a:lnTo>
                      <a:pt x="250" y="638"/>
                    </a:lnTo>
                    <a:lnTo>
                      <a:pt x="247" y="635"/>
                    </a:lnTo>
                    <a:lnTo>
                      <a:pt x="245" y="631"/>
                    </a:lnTo>
                    <a:lnTo>
                      <a:pt x="242" y="628"/>
                    </a:lnTo>
                    <a:lnTo>
                      <a:pt x="238" y="626"/>
                    </a:lnTo>
                    <a:lnTo>
                      <a:pt x="235" y="623"/>
                    </a:lnTo>
                    <a:lnTo>
                      <a:pt x="232" y="621"/>
                    </a:lnTo>
                    <a:lnTo>
                      <a:pt x="226" y="621"/>
                    </a:lnTo>
                    <a:lnTo>
                      <a:pt x="223" y="621"/>
                    </a:lnTo>
                    <a:lnTo>
                      <a:pt x="218" y="621"/>
                    </a:lnTo>
                    <a:lnTo>
                      <a:pt x="215" y="623"/>
                    </a:lnTo>
                    <a:lnTo>
                      <a:pt x="208" y="625"/>
                    </a:lnTo>
                    <a:lnTo>
                      <a:pt x="204" y="621"/>
                    </a:lnTo>
                    <a:lnTo>
                      <a:pt x="204" y="618"/>
                    </a:lnTo>
                    <a:lnTo>
                      <a:pt x="204" y="614"/>
                    </a:lnTo>
                    <a:lnTo>
                      <a:pt x="201" y="611"/>
                    </a:lnTo>
                    <a:lnTo>
                      <a:pt x="198" y="611"/>
                    </a:lnTo>
                    <a:lnTo>
                      <a:pt x="182" y="604"/>
                    </a:lnTo>
                    <a:lnTo>
                      <a:pt x="179" y="601"/>
                    </a:lnTo>
                    <a:lnTo>
                      <a:pt x="175" y="597"/>
                    </a:lnTo>
                    <a:lnTo>
                      <a:pt x="170" y="596"/>
                    </a:lnTo>
                    <a:lnTo>
                      <a:pt x="167" y="594"/>
                    </a:lnTo>
                    <a:lnTo>
                      <a:pt x="165" y="591"/>
                    </a:lnTo>
                    <a:lnTo>
                      <a:pt x="165" y="587"/>
                    </a:lnTo>
                    <a:lnTo>
                      <a:pt x="165" y="584"/>
                    </a:lnTo>
                    <a:lnTo>
                      <a:pt x="162" y="582"/>
                    </a:lnTo>
                    <a:lnTo>
                      <a:pt x="158" y="586"/>
                    </a:lnTo>
                    <a:lnTo>
                      <a:pt x="153" y="584"/>
                    </a:lnTo>
                    <a:lnTo>
                      <a:pt x="150" y="580"/>
                    </a:lnTo>
                    <a:lnTo>
                      <a:pt x="146" y="580"/>
                    </a:lnTo>
                    <a:lnTo>
                      <a:pt x="143" y="580"/>
                    </a:lnTo>
                    <a:lnTo>
                      <a:pt x="141" y="577"/>
                    </a:lnTo>
                    <a:lnTo>
                      <a:pt x="145" y="572"/>
                    </a:lnTo>
                    <a:lnTo>
                      <a:pt x="141" y="569"/>
                    </a:lnTo>
                    <a:lnTo>
                      <a:pt x="148" y="564"/>
                    </a:lnTo>
                    <a:lnTo>
                      <a:pt x="145" y="564"/>
                    </a:lnTo>
                    <a:lnTo>
                      <a:pt x="140" y="560"/>
                    </a:lnTo>
                    <a:lnTo>
                      <a:pt x="136" y="560"/>
                    </a:lnTo>
                    <a:lnTo>
                      <a:pt x="133" y="557"/>
                    </a:lnTo>
                    <a:lnTo>
                      <a:pt x="131" y="560"/>
                    </a:lnTo>
                    <a:lnTo>
                      <a:pt x="129" y="565"/>
                    </a:lnTo>
                    <a:lnTo>
                      <a:pt x="126" y="565"/>
                    </a:lnTo>
                    <a:lnTo>
                      <a:pt x="123" y="562"/>
                    </a:lnTo>
                    <a:lnTo>
                      <a:pt x="121" y="567"/>
                    </a:lnTo>
                    <a:lnTo>
                      <a:pt x="116" y="567"/>
                    </a:lnTo>
                    <a:lnTo>
                      <a:pt x="109" y="564"/>
                    </a:lnTo>
                    <a:lnTo>
                      <a:pt x="106" y="562"/>
                    </a:lnTo>
                    <a:lnTo>
                      <a:pt x="104" y="557"/>
                    </a:lnTo>
                    <a:lnTo>
                      <a:pt x="107" y="555"/>
                    </a:lnTo>
                    <a:lnTo>
                      <a:pt x="107" y="552"/>
                    </a:lnTo>
                    <a:lnTo>
                      <a:pt x="104" y="547"/>
                    </a:lnTo>
                    <a:lnTo>
                      <a:pt x="101" y="550"/>
                    </a:lnTo>
                    <a:lnTo>
                      <a:pt x="95" y="550"/>
                    </a:lnTo>
                    <a:lnTo>
                      <a:pt x="95" y="545"/>
                    </a:lnTo>
                    <a:lnTo>
                      <a:pt x="95" y="540"/>
                    </a:lnTo>
                    <a:lnTo>
                      <a:pt x="94" y="533"/>
                    </a:lnTo>
                    <a:lnTo>
                      <a:pt x="89" y="530"/>
                    </a:lnTo>
                    <a:lnTo>
                      <a:pt x="84" y="530"/>
                    </a:lnTo>
                    <a:lnTo>
                      <a:pt x="80" y="528"/>
                    </a:lnTo>
                    <a:lnTo>
                      <a:pt x="78" y="523"/>
                    </a:lnTo>
                    <a:lnTo>
                      <a:pt x="72" y="519"/>
                    </a:lnTo>
                    <a:lnTo>
                      <a:pt x="70" y="516"/>
                    </a:lnTo>
                    <a:lnTo>
                      <a:pt x="67" y="516"/>
                    </a:lnTo>
                    <a:lnTo>
                      <a:pt x="61" y="514"/>
                    </a:lnTo>
                    <a:lnTo>
                      <a:pt x="58" y="513"/>
                    </a:lnTo>
                    <a:lnTo>
                      <a:pt x="56" y="509"/>
                    </a:lnTo>
                    <a:lnTo>
                      <a:pt x="51" y="504"/>
                    </a:lnTo>
                    <a:lnTo>
                      <a:pt x="44" y="496"/>
                    </a:lnTo>
                    <a:lnTo>
                      <a:pt x="33" y="501"/>
                    </a:lnTo>
                    <a:lnTo>
                      <a:pt x="27" y="502"/>
                    </a:lnTo>
                    <a:lnTo>
                      <a:pt x="29" y="499"/>
                    </a:lnTo>
                    <a:lnTo>
                      <a:pt x="29" y="494"/>
                    </a:lnTo>
                    <a:lnTo>
                      <a:pt x="24" y="492"/>
                    </a:lnTo>
                    <a:lnTo>
                      <a:pt x="24" y="489"/>
                    </a:lnTo>
                    <a:lnTo>
                      <a:pt x="21" y="484"/>
                    </a:lnTo>
                    <a:lnTo>
                      <a:pt x="17" y="484"/>
                    </a:lnTo>
                    <a:lnTo>
                      <a:pt x="17" y="480"/>
                    </a:lnTo>
                    <a:lnTo>
                      <a:pt x="21" y="479"/>
                    </a:lnTo>
                    <a:lnTo>
                      <a:pt x="24" y="475"/>
                    </a:lnTo>
                    <a:lnTo>
                      <a:pt x="21" y="472"/>
                    </a:lnTo>
                    <a:lnTo>
                      <a:pt x="22" y="469"/>
                    </a:lnTo>
                    <a:lnTo>
                      <a:pt x="24" y="465"/>
                    </a:lnTo>
                    <a:lnTo>
                      <a:pt x="24" y="462"/>
                    </a:lnTo>
                    <a:lnTo>
                      <a:pt x="24" y="458"/>
                    </a:lnTo>
                    <a:lnTo>
                      <a:pt x="19" y="455"/>
                    </a:lnTo>
                    <a:lnTo>
                      <a:pt x="16" y="455"/>
                    </a:lnTo>
                    <a:lnTo>
                      <a:pt x="10" y="455"/>
                    </a:lnTo>
                    <a:lnTo>
                      <a:pt x="9" y="458"/>
                    </a:lnTo>
                    <a:lnTo>
                      <a:pt x="7" y="455"/>
                    </a:lnTo>
                    <a:lnTo>
                      <a:pt x="7" y="450"/>
                    </a:lnTo>
                    <a:lnTo>
                      <a:pt x="4" y="450"/>
                    </a:lnTo>
                    <a:lnTo>
                      <a:pt x="7" y="445"/>
                    </a:lnTo>
                    <a:lnTo>
                      <a:pt x="5" y="441"/>
                    </a:lnTo>
                    <a:lnTo>
                      <a:pt x="5" y="436"/>
                    </a:lnTo>
                    <a:lnTo>
                      <a:pt x="4" y="428"/>
                    </a:lnTo>
                    <a:lnTo>
                      <a:pt x="4" y="424"/>
                    </a:lnTo>
                    <a:lnTo>
                      <a:pt x="4" y="416"/>
                    </a:lnTo>
                    <a:lnTo>
                      <a:pt x="2" y="404"/>
                    </a:lnTo>
                    <a:lnTo>
                      <a:pt x="2" y="401"/>
                    </a:lnTo>
                    <a:lnTo>
                      <a:pt x="0" y="396"/>
                    </a:lnTo>
                    <a:lnTo>
                      <a:pt x="2" y="391"/>
                    </a:lnTo>
                    <a:lnTo>
                      <a:pt x="14" y="374"/>
                    </a:lnTo>
                    <a:lnTo>
                      <a:pt x="17" y="370"/>
                    </a:lnTo>
                    <a:lnTo>
                      <a:pt x="21" y="363"/>
                    </a:lnTo>
                    <a:lnTo>
                      <a:pt x="24" y="358"/>
                    </a:lnTo>
                    <a:lnTo>
                      <a:pt x="29" y="350"/>
                    </a:lnTo>
                    <a:lnTo>
                      <a:pt x="33" y="343"/>
                    </a:lnTo>
                    <a:lnTo>
                      <a:pt x="34" y="340"/>
                    </a:lnTo>
                    <a:lnTo>
                      <a:pt x="38" y="335"/>
                    </a:lnTo>
                    <a:lnTo>
                      <a:pt x="41" y="331"/>
                    </a:lnTo>
                    <a:lnTo>
                      <a:pt x="43" y="326"/>
                    </a:lnTo>
                    <a:lnTo>
                      <a:pt x="44" y="321"/>
                    </a:lnTo>
                    <a:lnTo>
                      <a:pt x="50" y="318"/>
                    </a:lnTo>
                    <a:lnTo>
                      <a:pt x="51" y="313"/>
                    </a:lnTo>
                    <a:lnTo>
                      <a:pt x="55" y="313"/>
                    </a:lnTo>
                    <a:lnTo>
                      <a:pt x="58" y="314"/>
                    </a:lnTo>
                    <a:lnTo>
                      <a:pt x="63" y="318"/>
                    </a:lnTo>
                    <a:lnTo>
                      <a:pt x="60" y="324"/>
                    </a:lnTo>
                    <a:lnTo>
                      <a:pt x="61" y="329"/>
                    </a:lnTo>
                    <a:lnTo>
                      <a:pt x="61" y="333"/>
                    </a:lnTo>
                    <a:lnTo>
                      <a:pt x="58" y="336"/>
                    </a:lnTo>
                    <a:lnTo>
                      <a:pt x="58" y="340"/>
                    </a:lnTo>
                    <a:lnTo>
                      <a:pt x="55" y="345"/>
                    </a:lnTo>
                    <a:lnTo>
                      <a:pt x="53" y="350"/>
                    </a:lnTo>
                    <a:lnTo>
                      <a:pt x="56" y="352"/>
                    </a:lnTo>
                    <a:lnTo>
                      <a:pt x="60" y="352"/>
                    </a:lnTo>
                    <a:lnTo>
                      <a:pt x="65" y="352"/>
                    </a:lnTo>
                    <a:lnTo>
                      <a:pt x="68" y="355"/>
                    </a:lnTo>
                    <a:lnTo>
                      <a:pt x="72" y="357"/>
                    </a:lnTo>
                    <a:lnTo>
                      <a:pt x="70" y="360"/>
                    </a:lnTo>
                    <a:lnTo>
                      <a:pt x="75" y="365"/>
                    </a:lnTo>
                    <a:lnTo>
                      <a:pt x="78" y="367"/>
                    </a:lnTo>
                    <a:lnTo>
                      <a:pt x="80" y="363"/>
                    </a:lnTo>
                    <a:lnTo>
                      <a:pt x="84" y="360"/>
                    </a:lnTo>
                    <a:lnTo>
                      <a:pt x="85" y="363"/>
                    </a:lnTo>
                    <a:lnTo>
                      <a:pt x="89" y="360"/>
                    </a:lnTo>
                    <a:lnTo>
                      <a:pt x="92" y="357"/>
                    </a:lnTo>
                    <a:lnTo>
                      <a:pt x="92" y="353"/>
                    </a:lnTo>
                    <a:lnTo>
                      <a:pt x="97" y="355"/>
                    </a:lnTo>
                    <a:lnTo>
                      <a:pt x="102" y="353"/>
                    </a:lnTo>
                    <a:lnTo>
                      <a:pt x="106" y="350"/>
                    </a:lnTo>
                    <a:lnTo>
                      <a:pt x="112" y="357"/>
                    </a:lnTo>
                    <a:lnTo>
                      <a:pt x="116" y="358"/>
                    </a:lnTo>
                    <a:lnTo>
                      <a:pt x="119" y="357"/>
                    </a:lnTo>
                    <a:lnTo>
                      <a:pt x="124" y="358"/>
                    </a:lnTo>
                    <a:lnTo>
                      <a:pt x="126" y="355"/>
                    </a:lnTo>
                    <a:lnTo>
                      <a:pt x="128" y="352"/>
                    </a:lnTo>
                    <a:lnTo>
                      <a:pt x="135" y="345"/>
                    </a:lnTo>
                    <a:lnTo>
                      <a:pt x="136" y="340"/>
                    </a:lnTo>
                    <a:lnTo>
                      <a:pt x="136" y="336"/>
                    </a:lnTo>
                    <a:lnTo>
                      <a:pt x="136" y="329"/>
                    </a:lnTo>
                    <a:lnTo>
                      <a:pt x="135" y="326"/>
                    </a:lnTo>
                    <a:lnTo>
                      <a:pt x="138" y="326"/>
                    </a:lnTo>
                    <a:lnTo>
                      <a:pt x="140" y="323"/>
                    </a:lnTo>
                    <a:lnTo>
                      <a:pt x="138" y="319"/>
                    </a:lnTo>
                    <a:lnTo>
                      <a:pt x="138" y="316"/>
                    </a:lnTo>
                    <a:lnTo>
                      <a:pt x="140" y="313"/>
                    </a:lnTo>
                    <a:lnTo>
                      <a:pt x="143" y="309"/>
                    </a:lnTo>
                    <a:lnTo>
                      <a:pt x="145" y="306"/>
                    </a:lnTo>
                    <a:lnTo>
                      <a:pt x="150" y="301"/>
                    </a:lnTo>
                    <a:lnTo>
                      <a:pt x="150" y="292"/>
                    </a:lnTo>
                    <a:lnTo>
                      <a:pt x="153" y="289"/>
                    </a:lnTo>
                    <a:lnTo>
                      <a:pt x="152" y="285"/>
                    </a:lnTo>
                    <a:lnTo>
                      <a:pt x="153" y="282"/>
                    </a:lnTo>
                    <a:lnTo>
                      <a:pt x="153" y="277"/>
                    </a:lnTo>
                    <a:lnTo>
                      <a:pt x="157" y="279"/>
                    </a:lnTo>
                    <a:lnTo>
                      <a:pt x="164" y="279"/>
                    </a:lnTo>
                    <a:lnTo>
                      <a:pt x="167" y="274"/>
                    </a:lnTo>
                    <a:lnTo>
                      <a:pt x="170" y="279"/>
                    </a:lnTo>
                    <a:lnTo>
                      <a:pt x="174" y="280"/>
                    </a:lnTo>
                    <a:lnTo>
                      <a:pt x="175" y="277"/>
                    </a:lnTo>
                    <a:lnTo>
                      <a:pt x="179" y="272"/>
                    </a:lnTo>
                    <a:lnTo>
                      <a:pt x="184" y="268"/>
                    </a:lnTo>
                    <a:lnTo>
                      <a:pt x="184" y="265"/>
                    </a:lnTo>
                    <a:lnTo>
                      <a:pt x="181" y="258"/>
                    </a:lnTo>
                    <a:lnTo>
                      <a:pt x="181" y="255"/>
                    </a:lnTo>
                    <a:lnTo>
                      <a:pt x="184" y="255"/>
                    </a:lnTo>
                    <a:lnTo>
                      <a:pt x="194" y="255"/>
                    </a:lnTo>
                    <a:lnTo>
                      <a:pt x="199" y="255"/>
                    </a:lnTo>
                    <a:lnTo>
                      <a:pt x="203" y="251"/>
                    </a:lnTo>
                    <a:lnTo>
                      <a:pt x="208" y="248"/>
                    </a:lnTo>
                    <a:lnTo>
                      <a:pt x="215" y="243"/>
                    </a:lnTo>
                    <a:lnTo>
                      <a:pt x="218" y="243"/>
                    </a:lnTo>
                    <a:lnTo>
                      <a:pt x="223" y="243"/>
                    </a:lnTo>
                    <a:lnTo>
                      <a:pt x="228" y="245"/>
                    </a:lnTo>
                    <a:lnTo>
                      <a:pt x="232" y="245"/>
                    </a:lnTo>
                    <a:lnTo>
                      <a:pt x="232" y="250"/>
                    </a:lnTo>
                    <a:lnTo>
                      <a:pt x="233" y="253"/>
                    </a:lnTo>
                    <a:lnTo>
                      <a:pt x="233" y="257"/>
                    </a:lnTo>
                    <a:lnTo>
                      <a:pt x="238" y="258"/>
                    </a:lnTo>
                    <a:lnTo>
                      <a:pt x="245" y="258"/>
                    </a:lnTo>
                    <a:lnTo>
                      <a:pt x="249" y="260"/>
                    </a:lnTo>
                    <a:lnTo>
                      <a:pt x="254" y="258"/>
                    </a:lnTo>
                    <a:lnTo>
                      <a:pt x="257" y="257"/>
                    </a:lnTo>
                    <a:lnTo>
                      <a:pt x="257" y="251"/>
                    </a:lnTo>
                    <a:lnTo>
                      <a:pt x="259" y="248"/>
                    </a:lnTo>
                    <a:lnTo>
                      <a:pt x="255" y="245"/>
                    </a:lnTo>
                    <a:lnTo>
                      <a:pt x="252" y="241"/>
                    </a:lnTo>
                    <a:lnTo>
                      <a:pt x="255" y="238"/>
                    </a:lnTo>
                    <a:lnTo>
                      <a:pt x="252" y="234"/>
                    </a:lnTo>
                    <a:lnTo>
                      <a:pt x="255" y="231"/>
                    </a:lnTo>
                    <a:lnTo>
                      <a:pt x="260" y="231"/>
                    </a:lnTo>
                    <a:lnTo>
                      <a:pt x="262" y="228"/>
                    </a:lnTo>
                    <a:lnTo>
                      <a:pt x="259" y="224"/>
                    </a:lnTo>
                    <a:lnTo>
                      <a:pt x="255" y="219"/>
                    </a:lnTo>
                    <a:lnTo>
                      <a:pt x="255" y="216"/>
                    </a:lnTo>
                    <a:lnTo>
                      <a:pt x="260" y="214"/>
                    </a:lnTo>
                    <a:lnTo>
                      <a:pt x="264" y="211"/>
                    </a:lnTo>
                    <a:lnTo>
                      <a:pt x="272" y="209"/>
                    </a:lnTo>
                    <a:lnTo>
                      <a:pt x="276" y="211"/>
                    </a:lnTo>
                    <a:lnTo>
                      <a:pt x="279" y="209"/>
                    </a:lnTo>
                    <a:lnTo>
                      <a:pt x="283" y="209"/>
                    </a:lnTo>
                    <a:lnTo>
                      <a:pt x="286" y="209"/>
                    </a:lnTo>
                    <a:lnTo>
                      <a:pt x="289" y="207"/>
                    </a:lnTo>
                    <a:lnTo>
                      <a:pt x="294" y="206"/>
                    </a:lnTo>
                    <a:lnTo>
                      <a:pt x="303" y="204"/>
                    </a:lnTo>
                    <a:lnTo>
                      <a:pt x="306" y="202"/>
                    </a:lnTo>
                    <a:lnTo>
                      <a:pt x="310" y="197"/>
                    </a:lnTo>
                    <a:lnTo>
                      <a:pt x="312" y="194"/>
                    </a:lnTo>
                    <a:lnTo>
                      <a:pt x="313" y="190"/>
                    </a:lnTo>
                    <a:lnTo>
                      <a:pt x="313" y="187"/>
                    </a:lnTo>
                    <a:lnTo>
                      <a:pt x="315" y="182"/>
                    </a:lnTo>
                    <a:lnTo>
                      <a:pt x="320" y="184"/>
                    </a:lnTo>
                    <a:lnTo>
                      <a:pt x="320" y="180"/>
                    </a:lnTo>
                    <a:lnTo>
                      <a:pt x="323" y="177"/>
                    </a:lnTo>
                    <a:lnTo>
                      <a:pt x="323" y="173"/>
                    </a:lnTo>
                    <a:lnTo>
                      <a:pt x="320" y="173"/>
                    </a:lnTo>
                    <a:lnTo>
                      <a:pt x="315" y="172"/>
                    </a:lnTo>
                    <a:lnTo>
                      <a:pt x="313" y="168"/>
                    </a:lnTo>
                    <a:lnTo>
                      <a:pt x="310" y="165"/>
                    </a:lnTo>
                    <a:lnTo>
                      <a:pt x="312" y="160"/>
                    </a:lnTo>
                    <a:lnTo>
                      <a:pt x="315" y="156"/>
                    </a:lnTo>
                    <a:lnTo>
                      <a:pt x="310" y="156"/>
                    </a:lnTo>
                    <a:lnTo>
                      <a:pt x="306" y="156"/>
                    </a:lnTo>
                    <a:lnTo>
                      <a:pt x="303" y="153"/>
                    </a:lnTo>
                    <a:lnTo>
                      <a:pt x="305" y="150"/>
                    </a:lnTo>
                    <a:lnTo>
                      <a:pt x="300" y="148"/>
                    </a:lnTo>
                    <a:lnTo>
                      <a:pt x="293" y="150"/>
                    </a:lnTo>
                    <a:lnTo>
                      <a:pt x="289" y="145"/>
                    </a:lnTo>
                    <a:lnTo>
                      <a:pt x="289" y="141"/>
                    </a:lnTo>
                    <a:lnTo>
                      <a:pt x="293" y="138"/>
                    </a:lnTo>
                    <a:lnTo>
                      <a:pt x="289" y="133"/>
                    </a:lnTo>
                    <a:lnTo>
                      <a:pt x="289" y="129"/>
                    </a:lnTo>
                    <a:lnTo>
                      <a:pt x="283" y="128"/>
                    </a:lnTo>
                    <a:lnTo>
                      <a:pt x="283" y="124"/>
                    </a:lnTo>
                    <a:lnTo>
                      <a:pt x="276" y="123"/>
                    </a:lnTo>
                    <a:lnTo>
                      <a:pt x="276" y="117"/>
                    </a:lnTo>
                    <a:lnTo>
                      <a:pt x="279" y="116"/>
                    </a:lnTo>
                    <a:lnTo>
                      <a:pt x="284" y="116"/>
                    </a:lnTo>
                    <a:lnTo>
                      <a:pt x="286" y="112"/>
                    </a:lnTo>
                    <a:lnTo>
                      <a:pt x="289" y="116"/>
                    </a:lnTo>
                    <a:lnTo>
                      <a:pt x="289" y="112"/>
                    </a:lnTo>
                    <a:lnTo>
                      <a:pt x="289" y="109"/>
                    </a:lnTo>
                    <a:lnTo>
                      <a:pt x="289" y="104"/>
                    </a:lnTo>
                    <a:lnTo>
                      <a:pt x="291" y="99"/>
                    </a:lnTo>
                    <a:lnTo>
                      <a:pt x="293" y="94"/>
                    </a:lnTo>
                    <a:lnTo>
                      <a:pt x="296" y="92"/>
                    </a:lnTo>
                    <a:lnTo>
                      <a:pt x="303" y="89"/>
                    </a:lnTo>
                    <a:lnTo>
                      <a:pt x="301" y="84"/>
                    </a:lnTo>
                    <a:lnTo>
                      <a:pt x="300" y="80"/>
                    </a:lnTo>
                    <a:lnTo>
                      <a:pt x="291" y="78"/>
                    </a:lnTo>
                    <a:lnTo>
                      <a:pt x="286" y="78"/>
                    </a:lnTo>
                    <a:lnTo>
                      <a:pt x="283" y="75"/>
                    </a:lnTo>
                    <a:lnTo>
                      <a:pt x="283" y="72"/>
                    </a:lnTo>
                    <a:lnTo>
                      <a:pt x="286" y="67"/>
                    </a:lnTo>
                    <a:lnTo>
                      <a:pt x="289" y="63"/>
                    </a:lnTo>
                    <a:lnTo>
                      <a:pt x="298" y="62"/>
                    </a:lnTo>
                    <a:lnTo>
                      <a:pt x="303" y="58"/>
                    </a:lnTo>
                    <a:lnTo>
                      <a:pt x="306" y="56"/>
                    </a:lnTo>
                    <a:lnTo>
                      <a:pt x="310" y="58"/>
                    </a:lnTo>
                    <a:lnTo>
                      <a:pt x="315" y="58"/>
                    </a:lnTo>
                    <a:lnTo>
                      <a:pt x="315" y="55"/>
                    </a:lnTo>
                    <a:lnTo>
                      <a:pt x="320" y="53"/>
                    </a:lnTo>
                    <a:lnTo>
                      <a:pt x="323" y="51"/>
                    </a:lnTo>
                    <a:lnTo>
                      <a:pt x="327" y="56"/>
                    </a:lnTo>
                    <a:lnTo>
                      <a:pt x="330" y="53"/>
                    </a:lnTo>
                    <a:lnTo>
                      <a:pt x="334" y="46"/>
                    </a:lnTo>
                    <a:lnTo>
                      <a:pt x="335" y="43"/>
                    </a:lnTo>
                    <a:lnTo>
                      <a:pt x="337" y="39"/>
                    </a:lnTo>
                    <a:lnTo>
                      <a:pt x="339" y="34"/>
                    </a:lnTo>
                    <a:lnTo>
                      <a:pt x="337" y="29"/>
                    </a:lnTo>
                    <a:lnTo>
                      <a:pt x="340" y="26"/>
                    </a:lnTo>
                    <a:lnTo>
                      <a:pt x="342" y="23"/>
                    </a:lnTo>
                    <a:lnTo>
                      <a:pt x="344" y="19"/>
                    </a:lnTo>
                    <a:lnTo>
                      <a:pt x="342" y="14"/>
                    </a:lnTo>
                    <a:lnTo>
                      <a:pt x="344" y="9"/>
                    </a:lnTo>
                    <a:lnTo>
                      <a:pt x="349" y="9"/>
                    </a:lnTo>
                    <a:lnTo>
                      <a:pt x="352" y="11"/>
                    </a:lnTo>
                    <a:lnTo>
                      <a:pt x="357" y="16"/>
                    </a:lnTo>
                    <a:lnTo>
                      <a:pt x="361" y="17"/>
                    </a:lnTo>
                    <a:lnTo>
                      <a:pt x="366" y="17"/>
                    </a:lnTo>
                    <a:lnTo>
                      <a:pt x="369" y="21"/>
                    </a:lnTo>
                    <a:lnTo>
                      <a:pt x="374" y="24"/>
                    </a:lnTo>
                    <a:lnTo>
                      <a:pt x="374" y="29"/>
                    </a:lnTo>
                    <a:lnTo>
                      <a:pt x="378" y="29"/>
                    </a:lnTo>
                    <a:lnTo>
                      <a:pt x="381" y="26"/>
                    </a:lnTo>
                    <a:lnTo>
                      <a:pt x="385" y="24"/>
                    </a:lnTo>
                    <a:lnTo>
                      <a:pt x="390" y="21"/>
                    </a:lnTo>
                    <a:lnTo>
                      <a:pt x="395" y="24"/>
                    </a:lnTo>
                    <a:lnTo>
                      <a:pt x="402" y="23"/>
                    </a:lnTo>
                    <a:lnTo>
                      <a:pt x="403" y="19"/>
                    </a:lnTo>
                    <a:lnTo>
                      <a:pt x="408" y="19"/>
                    </a:lnTo>
                    <a:lnTo>
                      <a:pt x="412" y="21"/>
                    </a:lnTo>
                    <a:lnTo>
                      <a:pt x="415" y="23"/>
                    </a:lnTo>
                    <a:lnTo>
                      <a:pt x="420" y="21"/>
                    </a:lnTo>
                    <a:lnTo>
                      <a:pt x="419" y="16"/>
                    </a:lnTo>
                    <a:lnTo>
                      <a:pt x="424" y="14"/>
                    </a:lnTo>
                    <a:lnTo>
                      <a:pt x="427" y="11"/>
                    </a:lnTo>
                    <a:lnTo>
                      <a:pt x="431" y="6"/>
                    </a:lnTo>
                    <a:lnTo>
                      <a:pt x="434" y="4"/>
                    </a:lnTo>
                    <a:lnTo>
                      <a:pt x="441" y="0"/>
                    </a:lnTo>
                    <a:lnTo>
                      <a:pt x="446" y="0"/>
                    </a:lnTo>
                    <a:lnTo>
                      <a:pt x="451" y="0"/>
                    </a:lnTo>
                    <a:lnTo>
                      <a:pt x="453" y="0"/>
                    </a:lnTo>
                    <a:lnTo>
                      <a:pt x="458" y="6"/>
                    </a:lnTo>
                    <a:lnTo>
                      <a:pt x="463" y="9"/>
                    </a:lnTo>
                    <a:lnTo>
                      <a:pt x="466" y="7"/>
                    </a:lnTo>
                    <a:lnTo>
                      <a:pt x="473" y="7"/>
                    </a:lnTo>
                    <a:lnTo>
                      <a:pt x="477" y="6"/>
                    </a:lnTo>
                    <a:lnTo>
                      <a:pt x="480" y="6"/>
                    </a:lnTo>
                    <a:lnTo>
                      <a:pt x="483" y="7"/>
                    </a:lnTo>
                    <a:lnTo>
                      <a:pt x="487" y="6"/>
                    </a:lnTo>
                    <a:lnTo>
                      <a:pt x="494" y="6"/>
                    </a:lnTo>
                    <a:lnTo>
                      <a:pt x="499" y="7"/>
                    </a:lnTo>
                    <a:lnTo>
                      <a:pt x="504" y="11"/>
                    </a:lnTo>
                    <a:lnTo>
                      <a:pt x="504" y="14"/>
                    </a:lnTo>
                    <a:lnTo>
                      <a:pt x="504" y="17"/>
                    </a:lnTo>
                    <a:lnTo>
                      <a:pt x="505" y="23"/>
                    </a:lnTo>
                    <a:lnTo>
                      <a:pt x="507" y="26"/>
                    </a:lnTo>
                    <a:lnTo>
                      <a:pt x="507" y="31"/>
                    </a:lnTo>
                    <a:lnTo>
                      <a:pt x="507" y="34"/>
                    </a:lnTo>
                    <a:lnTo>
                      <a:pt x="505" y="38"/>
                    </a:lnTo>
                    <a:lnTo>
                      <a:pt x="509" y="45"/>
                    </a:lnTo>
                    <a:lnTo>
                      <a:pt x="505" y="46"/>
                    </a:lnTo>
                    <a:lnTo>
                      <a:pt x="497" y="46"/>
                    </a:lnTo>
                    <a:lnTo>
                      <a:pt x="494" y="50"/>
                    </a:lnTo>
                    <a:lnTo>
                      <a:pt x="487" y="55"/>
                    </a:lnTo>
                    <a:lnTo>
                      <a:pt x="483" y="56"/>
                    </a:lnTo>
                    <a:lnTo>
                      <a:pt x="482" y="60"/>
                    </a:lnTo>
                    <a:lnTo>
                      <a:pt x="485" y="65"/>
                    </a:lnTo>
                    <a:lnTo>
                      <a:pt x="488" y="68"/>
                    </a:lnTo>
                    <a:lnTo>
                      <a:pt x="490" y="72"/>
                    </a:lnTo>
                    <a:lnTo>
                      <a:pt x="487" y="72"/>
                    </a:lnTo>
                    <a:lnTo>
                      <a:pt x="480" y="70"/>
                    </a:lnTo>
                    <a:lnTo>
                      <a:pt x="477" y="73"/>
                    </a:lnTo>
                    <a:lnTo>
                      <a:pt x="473" y="72"/>
                    </a:lnTo>
                    <a:lnTo>
                      <a:pt x="468" y="70"/>
                    </a:lnTo>
                    <a:lnTo>
                      <a:pt x="463" y="75"/>
                    </a:lnTo>
                    <a:lnTo>
                      <a:pt x="458" y="75"/>
                    </a:lnTo>
                    <a:lnTo>
                      <a:pt x="458" y="78"/>
                    </a:lnTo>
                    <a:lnTo>
                      <a:pt x="453" y="84"/>
                    </a:lnTo>
                    <a:lnTo>
                      <a:pt x="451" y="89"/>
                    </a:lnTo>
                    <a:lnTo>
                      <a:pt x="449" y="92"/>
                    </a:lnTo>
                    <a:lnTo>
                      <a:pt x="446" y="97"/>
                    </a:lnTo>
                    <a:lnTo>
                      <a:pt x="444" y="102"/>
                    </a:lnTo>
                    <a:lnTo>
                      <a:pt x="441" y="102"/>
                    </a:lnTo>
                    <a:lnTo>
                      <a:pt x="442" y="106"/>
                    </a:lnTo>
                    <a:lnTo>
                      <a:pt x="442" y="109"/>
                    </a:lnTo>
                    <a:lnTo>
                      <a:pt x="437" y="112"/>
                    </a:lnTo>
                    <a:lnTo>
                      <a:pt x="432" y="116"/>
                    </a:lnTo>
                    <a:lnTo>
                      <a:pt x="432" y="119"/>
                    </a:lnTo>
                    <a:lnTo>
                      <a:pt x="431" y="123"/>
                    </a:lnTo>
                    <a:lnTo>
                      <a:pt x="425" y="124"/>
                    </a:lnTo>
                    <a:lnTo>
                      <a:pt x="422" y="126"/>
                    </a:lnTo>
                    <a:lnTo>
                      <a:pt x="417" y="128"/>
                    </a:lnTo>
                    <a:lnTo>
                      <a:pt x="417" y="136"/>
                    </a:lnTo>
                    <a:lnTo>
                      <a:pt x="412" y="140"/>
                    </a:lnTo>
                    <a:lnTo>
                      <a:pt x="410" y="145"/>
                    </a:lnTo>
                    <a:lnTo>
                      <a:pt x="412" y="151"/>
                    </a:lnTo>
                    <a:lnTo>
                      <a:pt x="414" y="155"/>
                    </a:lnTo>
                    <a:lnTo>
                      <a:pt x="419" y="156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2" name="Freeform 17">
                <a:extLst>
                  <a:ext uri="{FF2B5EF4-FFF2-40B4-BE49-F238E27FC236}">
                    <a16:creationId xmlns:a16="http://schemas.microsoft.com/office/drawing/2014/main" id="{B9C714A4-ECEE-B845-C52A-F5CF73078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4375" y="889000"/>
                <a:ext cx="642937" cy="573087"/>
              </a:xfrm>
              <a:custGeom>
                <a:avLst/>
                <a:gdLst>
                  <a:gd name="T0" fmla="*/ 305 w 405"/>
                  <a:gd name="T1" fmla="*/ 71 h 361"/>
                  <a:gd name="T2" fmla="*/ 283 w 405"/>
                  <a:gd name="T3" fmla="*/ 90 h 361"/>
                  <a:gd name="T4" fmla="*/ 272 w 405"/>
                  <a:gd name="T5" fmla="*/ 107 h 361"/>
                  <a:gd name="T6" fmla="*/ 262 w 405"/>
                  <a:gd name="T7" fmla="*/ 124 h 361"/>
                  <a:gd name="T8" fmla="*/ 271 w 405"/>
                  <a:gd name="T9" fmla="*/ 148 h 361"/>
                  <a:gd name="T10" fmla="*/ 296 w 405"/>
                  <a:gd name="T11" fmla="*/ 143 h 361"/>
                  <a:gd name="T12" fmla="*/ 317 w 405"/>
                  <a:gd name="T13" fmla="*/ 153 h 361"/>
                  <a:gd name="T14" fmla="*/ 329 w 405"/>
                  <a:gd name="T15" fmla="*/ 165 h 361"/>
                  <a:gd name="T16" fmla="*/ 305 w 405"/>
                  <a:gd name="T17" fmla="*/ 190 h 361"/>
                  <a:gd name="T18" fmla="*/ 293 w 405"/>
                  <a:gd name="T19" fmla="*/ 214 h 361"/>
                  <a:gd name="T20" fmla="*/ 301 w 405"/>
                  <a:gd name="T21" fmla="*/ 231 h 361"/>
                  <a:gd name="T22" fmla="*/ 322 w 405"/>
                  <a:gd name="T23" fmla="*/ 224 h 361"/>
                  <a:gd name="T24" fmla="*/ 325 w 405"/>
                  <a:gd name="T25" fmla="*/ 246 h 361"/>
                  <a:gd name="T26" fmla="*/ 315 w 405"/>
                  <a:gd name="T27" fmla="*/ 272 h 361"/>
                  <a:gd name="T28" fmla="*/ 335 w 405"/>
                  <a:gd name="T29" fmla="*/ 287 h 361"/>
                  <a:gd name="T30" fmla="*/ 359 w 405"/>
                  <a:gd name="T31" fmla="*/ 302 h 361"/>
                  <a:gd name="T32" fmla="*/ 381 w 405"/>
                  <a:gd name="T33" fmla="*/ 317 h 361"/>
                  <a:gd name="T34" fmla="*/ 400 w 405"/>
                  <a:gd name="T35" fmla="*/ 339 h 361"/>
                  <a:gd name="T36" fmla="*/ 373 w 405"/>
                  <a:gd name="T37" fmla="*/ 361 h 361"/>
                  <a:gd name="T38" fmla="*/ 361 w 405"/>
                  <a:gd name="T39" fmla="*/ 353 h 361"/>
                  <a:gd name="T40" fmla="*/ 368 w 405"/>
                  <a:gd name="T41" fmla="*/ 346 h 361"/>
                  <a:gd name="T42" fmla="*/ 363 w 405"/>
                  <a:gd name="T43" fmla="*/ 328 h 361"/>
                  <a:gd name="T44" fmla="*/ 332 w 405"/>
                  <a:gd name="T45" fmla="*/ 299 h 361"/>
                  <a:gd name="T46" fmla="*/ 310 w 405"/>
                  <a:gd name="T47" fmla="*/ 292 h 361"/>
                  <a:gd name="T48" fmla="*/ 306 w 405"/>
                  <a:gd name="T49" fmla="*/ 316 h 361"/>
                  <a:gd name="T50" fmla="*/ 281 w 405"/>
                  <a:gd name="T51" fmla="*/ 334 h 361"/>
                  <a:gd name="T52" fmla="*/ 254 w 405"/>
                  <a:gd name="T53" fmla="*/ 328 h 361"/>
                  <a:gd name="T54" fmla="*/ 221 w 405"/>
                  <a:gd name="T55" fmla="*/ 326 h 361"/>
                  <a:gd name="T56" fmla="*/ 203 w 405"/>
                  <a:gd name="T57" fmla="*/ 345 h 361"/>
                  <a:gd name="T58" fmla="*/ 189 w 405"/>
                  <a:gd name="T59" fmla="*/ 334 h 361"/>
                  <a:gd name="T60" fmla="*/ 179 w 405"/>
                  <a:gd name="T61" fmla="*/ 319 h 361"/>
                  <a:gd name="T62" fmla="*/ 169 w 405"/>
                  <a:gd name="T63" fmla="*/ 295 h 361"/>
                  <a:gd name="T64" fmla="*/ 157 w 405"/>
                  <a:gd name="T65" fmla="*/ 290 h 361"/>
                  <a:gd name="T66" fmla="*/ 133 w 405"/>
                  <a:gd name="T67" fmla="*/ 282 h 361"/>
                  <a:gd name="T68" fmla="*/ 121 w 405"/>
                  <a:gd name="T69" fmla="*/ 282 h 361"/>
                  <a:gd name="T70" fmla="*/ 102 w 405"/>
                  <a:gd name="T71" fmla="*/ 294 h 361"/>
                  <a:gd name="T72" fmla="*/ 84 w 405"/>
                  <a:gd name="T73" fmla="*/ 292 h 361"/>
                  <a:gd name="T74" fmla="*/ 63 w 405"/>
                  <a:gd name="T75" fmla="*/ 290 h 361"/>
                  <a:gd name="T76" fmla="*/ 53 w 405"/>
                  <a:gd name="T77" fmla="*/ 267 h 361"/>
                  <a:gd name="T78" fmla="*/ 31 w 405"/>
                  <a:gd name="T79" fmla="*/ 251 h 361"/>
                  <a:gd name="T80" fmla="*/ 26 w 405"/>
                  <a:gd name="T81" fmla="*/ 221 h 361"/>
                  <a:gd name="T82" fmla="*/ 39 w 405"/>
                  <a:gd name="T83" fmla="*/ 199 h 361"/>
                  <a:gd name="T84" fmla="*/ 39 w 405"/>
                  <a:gd name="T85" fmla="*/ 175 h 361"/>
                  <a:gd name="T86" fmla="*/ 22 w 405"/>
                  <a:gd name="T87" fmla="*/ 160 h 361"/>
                  <a:gd name="T88" fmla="*/ 5 w 405"/>
                  <a:gd name="T89" fmla="*/ 149 h 361"/>
                  <a:gd name="T90" fmla="*/ 9 w 405"/>
                  <a:gd name="T91" fmla="*/ 119 h 361"/>
                  <a:gd name="T92" fmla="*/ 32 w 405"/>
                  <a:gd name="T93" fmla="*/ 102 h 361"/>
                  <a:gd name="T94" fmla="*/ 39 w 405"/>
                  <a:gd name="T95" fmla="*/ 83 h 361"/>
                  <a:gd name="T96" fmla="*/ 61 w 405"/>
                  <a:gd name="T97" fmla="*/ 65 h 361"/>
                  <a:gd name="T98" fmla="*/ 75 w 405"/>
                  <a:gd name="T99" fmla="*/ 58 h 361"/>
                  <a:gd name="T100" fmla="*/ 92 w 405"/>
                  <a:gd name="T101" fmla="*/ 38 h 361"/>
                  <a:gd name="T102" fmla="*/ 95 w 405"/>
                  <a:gd name="T103" fmla="*/ 17 h 361"/>
                  <a:gd name="T104" fmla="*/ 114 w 405"/>
                  <a:gd name="T105" fmla="*/ 7 h 361"/>
                  <a:gd name="T106" fmla="*/ 133 w 405"/>
                  <a:gd name="T107" fmla="*/ 14 h 361"/>
                  <a:gd name="T108" fmla="*/ 157 w 405"/>
                  <a:gd name="T109" fmla="*/ 16 h 361"/>
                  <a:gd name="T110" fmla="*/ 184 w 405"/>
                  <a:gd name="T111" fmla="*/ 14 h 361"/>
                  <a:gd name="T112" fmla="*/ 213 w 405"/>
                  <a:gd name="T113" fmla="*/ 22 h 361"/>
                  <a:gd name="T114" fmla="*/ 238 w 405"/>
                  <a:gd name="T115" fmla="*/ 27 h 361"/>
                  <a:gd name="T116" fmla="*/ 260 w 405"/>
                  <a:gd name="T117" fmla="*/ 24 h 361"/>
                  <a:gd name="T118" fmla="*/ 291 w 405"/>
                  <a:gd name="T119" fmla="*/ 26 h 361"/>
                  <a:gd name="T120" fmla="*/ 317 w 405"/>
                  <a:gd name="T121" fmla="*/ 29 h 361"/>
                  <a:gd name="T122" fmla="*/ 335 w 405"/>
                  <a:gd name="T123" fmla="*/ 48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5" h="361">
                    <a:moveTo>
                      <a:pt x="322" y="61"/>
                    </a:moveTo>
                    <a:lnTo>
                      <a:pt x="318" y="61"/>
                    </a:lnTo>
                    <a:lnTo>
                      <a:pt x="313" y="63"/>
                    </a:lnTo>
                    <a:lnTo>
                      <a:pt x="310" y="65"/>
                    </a:lnTo>
                    <a:lnTo>
                      <a:pt x="305" y="68"/>
                    </a:lnTo>
                    <a:lnTo>
                      <a:pt x="305" y="71"/>
                    </a:lnTo>
                    <a:lnTo>
                      <a:pt x="303" y="77"/>
                    </a:lnTo>
                    <a:lnTo>
                      <a:pt x="300" y="78"/>
                    </a:lnTo>
                    <a:lnTo>
                      <a:pt x="294" y="83"/>
                    </a:lnTo>
                    <a:lnTo>
                      <a:pt x="291" y="83"/>
                    </a:lnTo>
                    <a:lnTo>
                      <a:pt x="286" y="88"/>
                    </a:lnTo>
                    <a:lnTo>
                      <a:pt x="283" y="90"/>
                    </a:lnTo>
                    <a:lnTo>
                      <a:pt x="279" y="94"/>
                    </a:lnTo>
                    <a:lnTo>
                      <a:pt x="274" y="92"/>
                    </a:lnTo>
                    <a:lnTo>
                      <a:pt x="271" y="94"/>
                    </a:lnTo>
                    <a:lnTo>
                      <a:pt x="272" y="97"/>
                    </a:lnTo>
                    <a:lnTo>
                      <a:pt x="274" y="102"/>
                    </a:lnTo>
                    <a:lnTo>
                      <a:pt x="272" y="107"/>
                    </a:lnTo>
                    <a:lnTo>
                      <a:pt x="267" y="109"/>
                    </a:lnTo>
                    <a:lnTo>
                      <a:pt x="264" y="112"/>
                    </a:lnTo>
                    <a:lnTo>
                      <a:pt x="260" y="116"/>
                    </a:lnTo>
                    <a:lnTo>
                      <a:pt x="257" y="116"/>
                    </a:lnTo>
                    <a:lnTo>
                      <a:pt x="260" y="119"/>
                    </a:lnTo>
                    <a:lnTo>
                      <a:pt x="262" y="124"/>
                    </a:lnTo>
                    <a:lnTo>
                      <a:pt x="262" y="127"/>
                    </a:lnTo>
                    <a:lnTo>
                      <a:pt x="264" y="131"/>
                    </a:lnTo>
                    <a:lnTo>
                      <a:pt x="266" y="136"/>
                    </a:lnTo>
                    <a:lnTo>
                      <a:pt x="271" y="138"/>
                    </a:lnTo>
                    <a:lnTo>
                      <a:pt x="269" y="143"/>
                    </a:lnTo>
                    <a:lnTo>
                      <a:pt x="271" y="148"/>
                    </a:lnTo>
                    <a:lnTo>
                      <a:pt x="276" y="146"/>
                    </a:lnTo>
                    <a:lnTo>
                      <a:pt x="276" y="141"/>
                    </a:lnTo>
                    <a:lnTo>
                      <a:pt x="284" y="141"/>
                    </a:lnTo>
                    <a:lnTo>
                      <a:pt x="288" y="141"/>
                    </a:lnTo>
                    <a:lnTo>
                      <a:pt x="293" y="143"/>
                    </a:lnTo>
                    <a:lnTo>
                      <a:pt x="296" y="143"/>
                    </a:lnTo>
                    <a:lnTo>
                      <a:pt x="301" y="144"/>
                    </a:lnTo>
                    <a:lnTo>
                      <a:pt x="305" y="146"/>
                    </a:lnTo>
                    <a:lnTo>
                      <a:pt x="306" y="149"/>
                    </a:lnTo>
                    <a:lnTo>
                      <a:pt x="310" y="153"/>
                    </a:lnTo>
                    <a:lnTo>
                      <a:pt x="313" y="151"/>
                    </a:lnTo>
                    <a:lnTo>
                      <a:pt x="317" y="153"/>
                    </a:lnTo>
                    <a:lnTo>
                      <a:pt x="320" y="151"/>
                    </a:lnTo>
                    <a:lnTo>
                      <a:pt x="323" y="151"/>
                    </a:lnTo>
                    <a:lnTo>
                      <a:pt x="327" y="153"/>
                    </a:lnTo>
                    <a:lnTo>
                      <a:pt x="330" y="156"/>
                    </a:lnTo>
                    <a:lnTo>
                      <a:pt x="329" y="160"/>
                    </a:lnTo>
                    <a:lnTo>
                      <a:pt x="329" y="165"/>
                    </a:lnTo>
                    <a:lnTo>
                      <a:pt x="327" y="170"/>
                    </a:lnTo>
                    <a:lnTo>
                      <a:pt x="322" y="172"/>
                    </a:lnTo>
                    <a:lnTo>
                      <a:pt x="318" y="177"/>
                    </a:lnTo>
                    <a:lnTo>
                      <a:pt x="315" y="182"/>
                    </a:lnTo>
                    <a:lnTo>
                      <a:pt x="311" y="183"/>
                    </a:lnTo>
                    <a:lnTo>
                      <a:pt x="305" y="190"/>
                    </a:lnTo>
                    <a:lnTo>
                      <a:pt x="301" y="194"/>
                    </a:lnTo>
                    <a:lnTo>
                      <a:pt x="296" y="197"/>
                    </a:lnTo>
                    <a:lnTo>
                      <a:pt x="293" y="197"/>
                    </a:lnTo>
                    <a:lnTo>
                      <a:pt x="291" y="200"/>
                    </a:lnTo>
                    <a:lnTo>
                      <a:pt x="294" y="207"/>
                    </a:lnTo>
                    <a:lnTo>
                      <a:pt x="293" y="214"/>
                    </a:lnTo>
                    <a:lnTo>
                      <a:pt x="288" y="216"/>
                    </a:lnTo>
                    <a:lnTo>
                      <a:pt x="289" y="219"/>
                    </a:lnTo>
                    <a:lnTo>
                      <a:pt x="291" y="222"/>
                    </a:lnTo>
                    <a:lnTo>
                      <a:pt x="294" y="226"/>
                    </a:lnTo>
                    <a:lnTo>
                      <a:pt x="298" y="227"/>
                    </a:lnTo>
                    <a:lnTo>
                      <a:pt x="301" y="231"/>
                    </a:lnTo>
                    <a:lnTo>
                      <a:pt x="305" y="231"/>
                    </a:lnTo>
                    <a:lnTo>
                      <a:pt x="310" y="229"/>
                    </a:lnTo>
                    <a:lnTo>
                      <a:pt x="313" y="226"/>
                    </a:lnTo>
                    <a:lnTo>
                      <a:pt x="315" y="222"/>
                    </a:lnTo>
                    <a:lnTo>
                      <a:pt x="318" y="222"/>
                    </a:lnTo>
                    <a:lnTo>
                      <a:pt x="322" y="224"/>
                    </a:lnTo>
                    <a:lnTo>
                      <a:pt x="329" y="224"/>
                    </a:lnTo>
                    <a:lnTo>
                      <a:pt x="329" y="231"/>
                    </a:lnTo>
                    <a:lnTo>
                      <a:pt x="327" y="234"/>
                    </a:lnTo>
                    <a:lnTo>
                      <a:pt x="329" y="238"/>
                    </a:lnTo>
                    <a:lnTo>
                      <a:pt x="327" y="243"/>
                    </a:lnTo>
                    <a:lnTo>
                      <a:pt x="325" y="246"/>
                    </a:lnTo>
                    <a:lnTo>
                      <a:pt x="323" y="250"/>
                    </a:lnTo>
                    <a:lnTo>
                      <a:pt x="322" y="255"/>
                    </a:lnTo>
                    <a:lnTo>
                      <a:pt x="320" y="258"/>
                    </a:lnTo>
                    <a:lnTo>
                      <a:pt x="318" y="261"/>
                    </a:lnTo>
                    <a:lnTo>
                      <a:pt x="317" y="268"/>
                    </a:lnTo>
                    <a:lnTo>
                      <a:pt x="315" y="272"/>
                    </a:lnTo>
                    <a:lnTo>
                      <a:pt x="318" y="277"/>
                    </a:lnTo>
                    <a:lnTo>
                      <a:pt x="322" y="282"/>
                    </a:lnTo>
                    <a:lnTo>
                      <a:pt x="322" y="285"/>
                    </a:lnTo>
                    <a:lnTo>
                      <a:pt x="329" y="289"/>
                    </a:lnTo>
                    <a:lnTo>
                      <a:pt x="332" y="289"/>
                    </a:lnTo>
                    <a:lnTo>
                      <a:pt x="335" y="287"/>
                    </a:lnTo>
                    <a:lnTo>
                      <a:pt x="339" y="287"/>
                    </a:lnTo>
                    <a:lnTo>
                      <a:pt x="344" y="290"/>
                    </a:lnTo>
                    <a:lnTo>
                      <a:pt x="347" y="294"/>
                    </a:lnTo>
                    <a:lnTo>
                      <a:pt x="351" y="295"/>
                    </a:lnTo>
                    <a:lnTo>
                      <a:pt x="354" y="299"/>
                    </a:lnTo>
                    <a:lnTo>
                      <a:pt x="359" y="302"/>
                    </a:lnTo>
                    <a:lnTo>
                      <a:pt x="364" y="302"/>
                    </a:lnTo>
                    <a:lnTo>
                      <a:pt x="369" y="304"/>
                    </a:lnTo>
                    <a:lnTo>
                      <a:pt x="373" y="306"/>
                    </a:lnTo>
                    <a:lnTo>
                      <a:pt x="374" y="309"/>
                    </a:lnTo>
                    <a:lnTo>
                      <a:pt x="378" y="312"/>
                    </a:lnTo>
                    <a:lnTo>
                      <a:pt x="381" y="317"/>
                    </a:lnTo>
                    <a:lnTo>
                      <a:pt x="383" y="321"/>
                    </a:lnTo>
                    <a:lnTo>
                      <a:pt x="383" y="324"/>
                    </a:lnTo>
                    <a:lnTo>
                      <a:pt x="386" y="329"/>
                    </a:lnTo>
                    <a:lnTo>
                      <a:pt x="391" y="334"/>
                    </a:lnTo>
                    <a:lnTo>
                      <a:pt x="397" y="338"/>
                    </a:lnTo>
                    <a:lnTo>
                      <a:pt x="400" y="339"/>
                    </a:lnTo>
                    <a:lnTo>
                      <a:pt x="405" y="343"/>
                    </a:lnTo>
                    <a:lnTo>
                      <a:pt x="395" y="350"/>
                    </a:lnTo>
                    <a:lnTo>
                      <a:pt x="393" y="355"/>
                    </a:lnTo>
                    <a:lnTo>
                      <a:pt x="388" y="358"/>
                    </a:lnTo>
                    <a:lnTo>
                      <a:pt x="381" y="361"/>
                    </a:lnTo>
                    <a:lnTo>
                      <a:pt x="373" y="361"/>
                    </a:lnTo>
                    <a:lnTo>
                      <a:pt x="369" y="360"/>
                    </a:lnTo>
                    <a:lnTo>
                      <a:pt x="366" y="358"/>
                    </a:lnTo>
                    <a:lnTo>
                      <a:pt x="361" y="356"/>
                    </a:lnTo>
                    <a:lnTo>
                      <a:pt x="357" y="358"/>
                    </a:lnTo>
                    <a:lnTo>
                      <a:pt x="356" y="355"/>
                    </a:lnTo>
                    <a:lnTo>
                      <a:pt x="361" y="353"/>
                    </a:lnTo>
                    <a:lnTo>
                      <a:pt x="368" y="353"/>
                    </a:lnTo>
                    <a:lnTo>
                      <a:pt x="373" y="356"/>
                    </a:lnTo>
                    <a:lnTo>
                      <a:pt x="376" y="353"/>
                    </a:lnTo>
                    <a:lnTo>
                      <a:pt x="373" y="351"/>
                    </a:lnTo>
                    <a:lnTo>
                      <a:pt x="369" y="351"/>
                    </a:lnTo>
                    <a:lnTo>
                      <a:pt x="368" y="346"/>
                    </a:lnTo>
                    <a:lnTo>
                      <a:pt x="369" y="343"/>
                    </a:lnTo>
                    <a:lnTo>
                      <a:pt x="364" y="346"/>
                    </a:lnTo>
                    <a:lnTo>
                      <a:pt x="363" y="341"/>
                    </a:lnTo>
                    <a:lnTo>
                      <a:pt x="366" y="338"/>
                    </a:lnTo>
                    <a:lnTo>
                      <a:pt x="364" y="334"/>
                    </a:lnTo>
                    <a:lnTo>
                      <a:pt x="363" y="328"/>
                    </a:lnTo>
                    <a:lnTo>
                      <a:pt x="359" y="324"/>
                    </a:lnTo>
                    <a:lnTo>
                      <a:pt x="354" y="321"/>
                    </a:lnTo>
                    <a:lnTo>
                      <a:pt x="342" y="309"/>
                    </a:lnTo>
                    <a:lnTo>
                      <a:pt x="339" y="307"/>
                    </a:lnTo>
                    <a:lnTo>
                      <a:pt x="335" y="304"/>
                    </a:lnTo>
                    <a:lnTo>
                      <a:pt x="332" y="299"/>
                    </a:lnTo>
                    <a:lnTo>
                      <a:pt x="323" y="299"/>
                    </a:lnTo>
                    <a:lnTo>
                      <a:pt x="318" y="295"/>
                    </a:lnTo>
                    <a:lnTo>
                      <a:pt x="311" y="295"/>
                    </a:lnTo>
                    <a:lnTo>
                      <a:pt x="310" y="292"/>
                    </a:lnTo>
                    <a:lnTo>
                      <a:pt x="305" y="287"/>
                    </a:lnTo>
                    <a:lnTo>
                      <a:pt x="310" y="292"/>
                    </a:lnTo>
                    <a:lnTo>
                      <a:pt x="305" y="292"/>
                    </a:lnTo>
                    <a:lnTo>
                      <a:pt x="306" y="295"/>
                    </a:lnTo>
                    <a:lnTo>
                      <a:pt x="303" y="302"/>
                    </a:lnTo>
                    <a:lnTo>
                      <a:pt x="305" y="307"/>
                    </a:lnTo>
                    <a:lnTo>
                      <a:pt x="311" y="314"/>
                    </a:lnTo>
                    <a:lnTo>
                      <a:pt x="306" y="316"/>
                    </a:lnTo>
                    <a:lnTo>
                      <a:pt x="303" y="317"/>
                    </a:lnTo>
                    <a:lnTo>
                      <a:pt x="296" y="322"/>
                    </a:lnTo>
                    <a:lnTo>
                      <a:pt x="293" y="324"/>
                    </a:lnTo>
                    <a:lnTo>
                      <a:pt x="289" y="328"/>
                    </a:lnTo>
                    <a:lnTo>
                      <a:pt x="286" y="329"/>
                    </a:lnTo>
                    <a:lnTo>
                      <a:pt x="281" y="334"/>
                    </a:lnTo>
                    <a:lnTo>
                      <a:pt x="277" y="334"/>
                    </a:lnTo>
                    <a:lnTo>
                      <a:pt x="272" y="334"/>
                    </a:lnTo>
                    <a:lnTo>
                      <a:pt x="269" y="331"/>
                    </a:lnTo>
                    <a:lnTo>
                      <a:pt x="266" y="329"/>
                    </a:lnTo>
                    <a:lnTo>
                      <a:pt x="262" y="331"/>
                    </a:lnTo>
                    <a:lnTo>
                      <a:pt x="254" y="328"/>
                    </a:lnTo>
                    <a:lnTo>
                      <a:pt x="247" y="324"/>
                    </a:lnTo>
                    <a:lnTo>
                      <a:pt x="243" y="324"/>
                    </a:lnTo>
                    <a:lnTo>
                      <a:pt x="240" y="322"/>
                    </a:lnTo>
                    <a:lnTo>
                      <a:pt x="235" y="322"/>
                    </a:lnTo>
                    <a:lnTo>
                      <a:pt x="226" y="324"/>
                    </a:lnTo>
                    <a:lnTo>
                      <a:pt x="221" y="326"/>
                    </a:lnTo>
                    <a:lnTo>
                      <a:pt x="218" y="328"/>
                    </a:lnTo>
                    <a:lnTo>
                      <a:pt x="215" y="329"/>
                    </a:lnTo>
                    <a:lnTo>
                      <a:pt x="213" y="333"/>
                    </a:lnTo>
                    <a:lnTo>
                      <a:pt x="209" y="336"/>
                    </a:lnTo>
                    <a:lnTo>
                      <a:pt x="206" y="339"/>
                    </a:lnTo>
                    <a:lnTo>
                      <a:pt x="203" y="345"/>
                    </a:lnTo>
                    <a:lnTo>
                      <a:pt x="203" y="348"/>
                    </a:lnTo>
                    <a:lnTo>
                      <a:pt x="199" y="348"/>
                    </a:lnTo>
                    <a:lnTo>
                      <a:pt x="196" y="345"/>
                    </a:lnTo>
                    <a:lnTo>
                      <a:pt x="192" y="341"/>
                    </a:lnTo>
                    <a:lnTo>
                      <a:pt x="189" y="338"/>
                    </a:lnTo>
                    <a:lnTo>
                      <a:pt x="189" y="334"/>
                    </a:lnTo>
                    <a:lnTo>
                      <a:pt x="186" y="331"/>
                    </a:lnTo>
                    <a:lnTo>
                      <a:pt x="186" y="326"/>
                    </a:lnTo>
                    <a:lnTo>
                      <a:pt x="186" y="322"/>
                    </a:lnTo>
                    <a:lnTo>
                      <a:pt x="182" y="319"/>
                    </a:lnTo>
                    <a:lnTo>
                      <a:pt x="179" y="322"/>
                    </a:lnTo>
                    <a:lnTo>
                      <a:pt x="179" y="319"/>
                    </a:lnTo>
                    <a:lnTo>
                      <a:pt x="179" y="316"/>
                    </a:lnTo>
                    <a:lnTo>
                      <a:pt x="175" y="312"/>
                    </a:lnTo>
                    <a:lnTo>
                      <a:pt x="174" y="306"/>
                    </a:lnTo>
                    <a:lnTo>
                      <a:pt x="170" y="300"/>
                    </a:lnTo>
                    <a:lnTo>
                      <a:pt x="172" y="297"/>
                    </a:lnTo>
                    <a:lnTo>
                      <a:pt x="169" y="295"/>
                    </a:lnTo>
                    <a:lnTo>
                      <a:pt x="169" y="292"/>
                    </a:lnTo>
                    <a:lnTo>
                      <a:pt x="169" y="287"/>
                    </a:lnTo>
                    <a:lnTo>
                      <a:pt x="165" y="282"/>
                    </a:lnTo>
                    <a:lnTo>
                      <a:pt x="162" y="282"/>
                    </a:lnTo>
                    <a:lnTo>
                      <a:pt x="162" y="287"/>
                    </a:lnTo>
                    <a:lnTo>
                      <a:pt x="157" y="290"/>
                    </a:lnTo>
                    <a:lnTo>
                      <a:pt x="155" y="287"/>
                    </a:lnTo>
                    <a:lnTo>
                      <a:pt x="148" y="289"/>
                    </a:lnTo>
                    <a:lnTo>
                      <a:pt x="141" y="285"/>
                    </a:lnTo>
                    <a:lnTo>
                      <a:pt x="143" y="282"/>
                    </a:lnTo>
                    <a:lnTo>
                      <a:pt x="140" y="280"/>
                    </a:lnTo>
                    <a:lnTo>
                      <a:pt x="133" y="282"/>
                    </a:lnTo>
                    <a:lnTo>
                      <a:pt x="131" y="285"/>
                    </a:lnTo>
                    <a:lnTo>
                      <a:pt x="129" y="289"/>
                    </a:lnTo>
                    <a:lnTo>
                      <a:pt x="124" y="290"/>
                    </a:lnTo>
                    <a:lnTo>
                      <a:pt x="124" y="287"/>
                    </a:lnTo>
                    <a:lnTo>
                      <a:pt x="124" y="282"/>
                    </a:lnTo>
                    <a:lnTo>
                      <a:pt x="121" y="282"/>
                    </a:lnTo>
                    <a:lnTo>
                      <a:pt x="118" y="282"/>
                    </a:lnTo>
                    <a:lnTo>
                      <a:pt x="114" y="285"/>
                    </a:lnTo>
                    <a:lnTo>
                      <a:pt x="112" y="289"/>
                    </a:lnTo>
                    <a:lnTo>
                      <a:pt x="107" y="287"/>
                    </a:lnTo>
                    <a:lnTo>
                      <a:pt x="104" y="290"/>
                    </a:lnTo>
                    <a:lnTo>
                      <a:pt x="102" y="294"/>
                    </a:lnTo>
                    <a:lnTo>
                      <a:pt x="99" y="297"/>
                    </a:lnTo>
                    <a:lnTo>
                      <a:pt x="95" y="302"/>
                    </a:lnTo>
                    <a:lnTo>
                      <a:pt x="90" y="302"/>
                    </a:lnTo>
                    <a:lnTo>
                      <a:pt x="89" y="299"/>
                    </a:lnTo>
                    <a:lnTo>
                      <a:pt x="87" y="295"/>
                    </a:lnTo>
                    <a:lnTo>
                      <a:pt x="84" y="292"/>
                    </a:lnTo>
                    <a:lnTo>
                      <a:pt x="80" y="290"/>
                    </a:lnTo>
                    <a:lnTo>
                      <a:pt x="75" y="289"/>
                    </a:lnTo>
                    <a:lnTo>
                      <a:pt x="75" y="294"/>
                    </a:lnTo>
                    <a:lnTo>
                      <a:pt x="72" y="292"/>
                    </a:lnTo>
                    <a:lnTo>
                      <a:pt x="67" y="292"/>
                    </a:lnTo>
                    <a:lnTo>
                      <a:pt x="63" y="290"/>
                    </a:lnTo>
                    <a:lnTo>
                      <a:pt x="63" y="287"/>
                    </a:lnTo>
                    <a:lnTo>
                      <a:pt x="63" y="282"/>
                    </a:lnTo>
                    <a:lnTo>
                      <a:pt x="58" y="278"/>
                    </a:lnTo>
                    <a:lnTo>
                      <a:pt x="58" y="273"/>
                    </a:lnTo>
                    <a:lnTo>
                      <a:pt x="53" y="270"/>
                    </a:lnTo>
                    <a:lnTo>
                      <a:pt x="53" y="267"/>
                    </a:lnTo>
                    <a:lnTo>
                      <a:pt x="51" y="261"/>
                    </a:lnTo>
                    <a:lnTo>
                      <a:pt x="46" y="258"/>
                    </a:lnTo>
                    <a:lnTo>
                      <a:pt x="43" y="256"/>
                    </a:lnTo>
                    <a:lnTo>
                      <a:pt x="38" y="253"/>
                    </a:lnTo>
                    <a:lnTo>
                      <a:pt x="34" y="251"/>
                    </a:lnTo>
                    <a:lnTo>
                      <a:pt x="31" y="251"/>
                    </a:lnTo>
                    <a:lnTo>
                      <a:pt x="29" y="246"/>
                    </a:lnTo>
                    <a:lnTo>
                      <a:pt x="29" y="239"/>
                    </a:lnTo>
                    <a:lnTo>
                      <a:pt x="31" y="234"/>
                    </a:lnTo>
                    <a:lnTo>
                      <a:pt x="27" y="229"/>
                    </a:lnTo>
                    <a:lnTo>
                      <a:pt x="26" y="226"/>
                    </a:lnTo>
                    <a:lnTo>
                      <a:pt x="26" y="221"/>
                    </a:lnTo>
                    <a:lnTo>
                      <a:pt x="24" y="217"/>
                    </a:lnTo>
                    <a:lnTo>
                      <a:pt x="26" y="212"/>
                    </a:lnTo>
                    <a:lnTo>
                      <a:pt x="29" y="207"/>
                    </a:lnTo>
                    <a:lnTo>
                      <a:pt x="31" y="202"/>
                    </a:lnTo>
                    <a:lnTo>
                      <a:pt x="36" y="200"/>
                    </a:lnTo>
                    <a:lnTo>
                      <a:pt x="39" y="199"/>
                    </a:lnTo>
                    <a:lnTo>
                      <a:pt x="43" y="195"/>
                    </a:lnTo>
                    <a:lnTo>
                      <a:pt x="43" y="192"/>
                    </a:lnTo>
                    <a:lnTo>
                      <a:pt x="44" y="187"/>
                    </a:lnTo>
                    <a:lnTo>
                      <a:pt x="46" y="183"/>
                    </a:lnTo>
                    <a:lnTo>
                      <a:pt x="44" y="180"/>
                    </a:lnTo>
                    <a:lnTo>
                      <a:pt x="39" y="175"/>
                    </a:lnTo>
                    <a:lnTo>
                      <a:pt x="34" y="172"/>
                    </a:lnTo>
                    <a:lnTo>
                      <a:pt x="32" y="168"/>
                    </a:lnTo>
                    <a:lnTo>
                      <a:pt x="31" y="163"/>
                    </a:lnTo>
                    <a:lnTo>
                      <a:pt x="32" y="160"/>
                    </a:lnTo>
                    <a:lnTo>
                      <a:pt x="27" y="160"/>
                    </a:lnTo>
                    <a:lnTo>
                      <a:pt x="22" y="160"/>
                    </a:lnTo>
                    <a:lnTo>
                      <a:pt x="21" y="156"/>
                    </a:lnTo>
                    <a:lnTo>
                      <a:pt x="21" y="153"/>
                    </a:lnTo>
                    <a:lnTo>
                      <a:pt x="15" y="153"/>
                    </a:lnTo>
                    <a:lnTo>
                      <a:pt x="12" y="153"/>
                    </a:lnTo>
                    <a:lnTo>
                      <a:pt x="9" y="151"/>
                    </a:lnTo>
                    <a:lnTo>
                      <a:pt x="5" y="149"/>
                    </a:lnTo>
                    <a:lnTo>
                      <a:pt x="2" y="144"/>
                    </a:lnTo>
                    <a:lnTo>
                      <a:pt x="0" y="141"/>
                    </a:lnTo>
                    <a:lnTo>
                      <a:pt x="2" y="134"/>
                    </a:lnTo>
                    <a:lnTo>
                      <a:pt x="5" y="131"/>
                    </a:lnTo>
                    <a:lnTo>
                      <a:pt x="9" y="124"/>
                    </a:lnTo>
                    <a:lnTo>
                      <a:pt x="9" y="119"/>
                    </a:lnTo>
                    <a:lnTo>
                      <a:pt x="14" y="116"/>
                    </a:lnTo>
                    <a:lnTo>
                      <a:pt x="17" y="117"/>
                    </a:lnTo>
                    <a:lnTo>
                      <a:pt x="22" y="114"/>
                    </a:lnTo>
                    <a:lnTo>
                      <a:pt x="22" y="109"/>
                    </a:lnTo>
                    <a:lnTo>
                      <a:pt x="27" y="105"/>
                    </a:lnTo>
                    <a:lnTo>
                      <a:pt x="32" y="102"/>
                    </a:lnTo>
                    <a:lnTo>
                      <a:pt x="32" y="99"/>
                    </a:lnTo>
                    <a:lnTo>
                      <a:pt x="31" y="95"/>
                    </a:lnTo>
                    <a:lnTo>
                      <a:pt x="34" y="95"/>
                    </a:lnTo>
                    <a:lnTo>
                      <a:pt x="36" y="90"/>
                    </a:lnTo>
                    <a:lnTo>
                      <a:pt x="39" y="87"/>
                    </a:lnTo>
                    <a:lnTo>
                      <a:pt x="39" y="83"/>
                    </a:lnTo>
                    <a:lnTo>
                      <a:pt x="41" y="78"/>
                    </a:lnTo>
                    <a:lnTo>
                      <a:pt x="44" y="75"/>
                    </a:lnTo>
                    <a:lnTo>
                      <a:pt x="48" y="71"/>
                    </a:lnTo>
                    <a:lnTo>
                      <a:pt x="51" y="70"/>
                    </a:lnTo>
                    <a:lnTo>
                      <a:pt x="55" y="66"/>
                    </a:lnTo>
                    <a:lnTo>
                      <a:pt x="61" y="65"/>
                    </a:lnTo>
                    <a:lnTo>
                      <a:pt x="67" y="66"/>
                    </a:lnTo>
                    <a:lnTo>
                      <a:pt x="70" y="63"/>
                    </a:lnTo>
                    <a:lnTo>
                      <a:pt x="73" y="63"/>
                    </a:lnTo>
                    <a:lnTo>
                      <a:pt x="77" y="66"/>
                    </a:lnTo>
                    <a:lnTo>
                      <a:pt x="78" y="61"/>
                    </a:lnTo>
                    <a:lnTo>
                      <a:pt x="75" y="58"/>
                    </a:lnTo>
                    <a:lnTo>
                      <a:pt x="72" y="55"/>
                    </a:lnTo>
                    <a:lnTo>
                      <a:pt x="72" y="49"/>
                    </a:lnTo>
                    <a:lnTo>
                      <a:pt x="77" y="48"/>
                    </a:lnTo>
                    <a:lnTo>
                      <a:pt x="82" y="44"/>
                    </a:lnTo>
                    <a:lnTo>
                      <a:pt x="87" y="41"/>
                    </a:lnTo>
                    <a:lnTo>
                      <a:pt x="92" y="38"/>
                    </a:lnTo>
                    <a:lnTo>
                      <a:pt x="99" y="38"/>
                    </a:lnTo>
                    <a:lnTo>
                      <a:pt x="97" y="34"/>
                    </a:lnTo>
                    <a:lnTo>
                      <a:pt x="95" y="29"/>
                    </a:lnTo>
                    <a:lnTo>
                      <a:pt x="97" y="24"/>
                    </a:lnTo>
                    <a:lnTo>
                      <a:pt x="97" y="21"/>
                    </a:lnTo>
                    <a:lnTo>
                      <a:pt x="95" y="17"/>
                    </a:lnTo>
                    <a:lnTo>
                      <a:pt x="94" y="10"/>
                    </a:lnTo>
                    <a:lnTo>
                      <a:pt x="94" y="7"/>
                    </a:lnTo>
                    <a:lnTo>
                      <a:pt x="99" y="2"/>
                    </a:lnTo>
                    <a:lnTo>
                      <a:pt x="104" y="0"/>
                    </a:lnTo>
                    <a:lnTo>
                      <a:pt x="109" y="2"/>
                    </a:lnTo>
                    <a:lnTo>
                      <a:pt x="114" y="7"/>
                    </a:lnTo>
                    <a:lnTo>
                      <a:pt x="114" y="7"/>
                    </a:lnTo>
                    <a:lnTo>
                      <a:pt x="118" y="7"/>
                    </a:lnTo>
                    <a:lnTo>
                      <a:pt x="119" y="10"/>
                    </a:lnTo>
                    <a:lnTo>
                      <a:pt x="123" y="14"/>
                    </a:lnTo>
                    <a:lnTo>
                      <a:pt x="128" y="14"/>
                    </a:lnTo>
                    <a:lnTo>
                      <a:pt x="133" y="14"/>
                    </a:lnTo>
                    <a:lnTo>
                      <a:pt x="136" y="14"/>
                    </a:lnTo>
                    <a:lnTo>
                      <a:pt x="140" y="12"/>
                    </a:lnTo>
                    <a:lnTo>
                      <a:pt x="143" y="12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7" y="16"/>
                    </a:lnTo>
                    <a:lnTo>
                      <a:pt x="160" y="14"/>
                    </a:lnTo>
                    <a:lnTo>
                      <a:pt x="163" y="14"/>
                    </a:lnTo>
                    <a:lnTo>
                      <a:pt x="169" y="16"/>
                    </a:lnTo>
                    <a:lnTo>
                      <a:pt x="174" y="16"/>
                    </a:lnTo>
                    <a:lnTo>
                      <a:pt x="181" y="14"/>
                    </a:lnTo>
                    <a:lnTo>
                      <a:pt x="184" y="14"/>
                    </a:lnTo>
                    <a:lnTo>
                      <a:pt x="189" y="16"/>
                    </a:lnTo>
                    <a:lnTo>
                      <a:pt x="198" y="17"/>
                    </a:lnTo>
                    <a:lnTo>
                      <a:pt x="201" y="17"/>
                    </a:lnTo>
                    <a:lnTo>
                      <a:pt x="204" y="21"/>
                    </a:lnTo>
                    <a:lnTo>
                      <a:pt x="208" y="22"/>
                    </a:lnTo>
                    <a:lnTo>
                      <a:pt x="213" y="22"/>
                    </a:lnTo>
                    <a:lnTo>
                      <a:pt x="216" y="26"/>
                    </a:lnTo>
                    <a:lnTo>
                      <a:pt x="221" y="26"/>
                    </a:lnTo>
                    <a:lnTo>
                      <a:pt x="226" y="26"/>
                    </a:lnTo>
                    <a:lnTo>
                      <a:pt x="232" y="26"/>
                    </a:lnTo>
                    <a:lnTo>
                      <a:pt x="235" y="26"/>
                    </a:lnTo>
                    <a:lnTo>
                      <a:pt x="238" y="27"/>
                    </a:lnTo>
                    <a:lnTo>
                      <a:pt x="243" y="24"/>
                    </a:lnTo>
                    <a:lnTo>
                      <a:pt x="247" y="21"/>
                    </a:lnTo>
                    <a:lnTo>
                      <a:pt x="250" y="17"/>
                    </a:lnTo>
                    <a:lnTo>
                      <a:pt x="255" y="17"/>
                    </a:lnTo>
                    <a:lnTo>
                      <a:pt x="260" y="21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7" y="24"/>
                    </a:lnTo>
                    <a:lnTo>
                      <a:pt x="276" y="24"/>
                    </a:lnTo>
                    <a:lnTo>
                      <a:pt x="283" y="21"/>
                    </a:lnTo>
                    <a:lnTo>
                      <a:pt x="286" y="26"/>
                    </a:lnTo>
                    <a:lnTo>
                      <a:pt x="291" y="26"/>
                    </a:lnTo>
                    <a:lnTo>
                      <a:pt x="294" y="24"/>
                    </a:lnTo>
                    <a:lnTo>
                      <a:pt x="298" y="24"/>
                    </a:lnTo>
                    <a:lnTo>
                      <a:pt x="300" y="27"/>
                    </a:lnTo>
                    <a:lnTo>
                      <a:pt x="303" y="27"/>
                    </a:lnTo>
                    <a:lnTo>
                      <a:pt x="311" y="27"/>
                    </a:lnTo>
                    <a:lnTo>
                      <a:pt x="317" y="29"/>
                    </a:lnTo>
                    <a:lnTo>
                      <a:pt x="322" y="31"/>
                    </a:lnTo>
                    <a:lnTo>
                      <a:pt x="325" y="32"/>
                    </a:lnTo>
                    <a:lnTo>
                      <a:pt x="334" y="34"/>
                    </a:lnTo>
                    <a:lnTo>
                      <a:pt x="335" y="38"/>
                    </a:lnTo>
                    <a:lnTo>
                      <a:pt x="334" y="44"/>
                    </a:lnTo>
                    <a:lnTo>
                      <a:pt x="335" y="48"/>
                    </a:lnTo>
                    <a:lnTo>
                      <a:pt x="332" y="51"/>
                    </a:lnTo>
                    <a:lnTo>
                      <a:pt x="332" y="55"/>
                    </a:lnTo>
                    <a:lnTo>
                      <a:pt x="332" y="61"/>
                    </a:lnTo>
                    <a:lnTo>
                      <a:pt x="322" y="61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3" name="Line 18">
                <a:extLst>
                  <a:ext uri="{FF2B5EF4-FFF2-40B4-BE49-F238E27FC236}">
                    <a16:creationId xmlns:a16="http://schemas.microsoft.com/office/drawing/2014/main" id="{3C342CED-79B7-6ECC-02A8-C6D5BCF8E6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19813" y="2386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4" name="Line 19">
                <a:extLst>
                  <a:ext uri="{FF2B5EF4-FFF2-40B4-BE49-F238E27FC236}">
                    <a16:creationId xmlns:a16="http://schemas.microsoft.com/office/drawing/2014/main" id="{10743890-5352-BCC9-D0C1-571DEA841B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2588" y="2386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5" name="Line 20">
                <a:extLst>
                  <a:ext uri="{FF2B5EF4-FFF2-40B4-BE49-F238E27FC236}">
                    <a16:creationId xmlns:a16="http://schemas.microsoft.com/office/drawing/2014/main" id="{4B1C30AB-5B26-CBEB-DA88-BD64ACD1C7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19813" y="2386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6" name="Freeform 21">
                <a:extLst>
                  <a:ext uri="{FF2B5EF4-FFF2-40B4-BE49-F238E27FC236}">
                    <a16:creationId xmlns:a16="http://schemas.microsoft.com/office/drawing/2014/main" id="{5181AC13-3309-F3F8-643F-D6C31DC48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1875" y="2373313"/>
                <a:ext cx="7937" cy="7937"/>
              </a:xfrm>
              <a:custGeom>
                <a:avLst/>
                <a:gdLst>
                  <a:gd name="T0" fmla="*/ 0 w 5"/>
                  <a:gd name="T1" fmla="*/ 1 h 5"/>
                  <a:gd name="T2" fmla="*/ 5 w 5"/>
                  <a:gd name="T3" fmla="*/ 0 h 5"/>
                  <a:gd name="T4" fmla="*/ 3 w 5"/>
                  <a:gd name="T5" fmla="*/ 3 h 5"/>
                  <a:gd name="T6" fmla="*/ 3 w 5"/>
                  <a:gd name="T7" fmla="*/ 5 h 5"/>
                  <a:gd name="T8" fmla="*/ 0 w 5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lnTo>
                      <a:pt x="5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7" name="Line 22">
                <a:extLst>
                  <a:ext uri="{FF2B5EF4-FFF2-40B4-BE49-F238E27FC236}">
                    <a16:creationId xmlns:a16="http://schemas.microsoft.com/office/drawing/2014/main" id="{C2AA02F6-9074-802A-0989-9C4DFB1337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3075" y="22701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8" name="Freeform 23">
                <a:extLst>
                  <a:ext uri="{FF2B5EF4-FFF2-40B4-BE49-F238E27FC236}">
                    <a16:creationId xmlns:a16="http://schemas.microsoft.com/office/drawing/2014/main" id="{234ECC62-4557-9C6E-3FDF-7BB0554F6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7700" y="2176463"/>
                <a:ext cx="11112" cy="4762"/>
              </a:xfrm>
              <a:custGeom>
                <a:avLst/>
                <a:gdLst>
                  <a:gd name="T0" fmla="*/ 7 w 7"/>
                  <a:gd name="T1" fmla="*/ 3 h 3"/>
                  <a:gd name="T2" fmla="*/ 0 w 7"/>
                  <a:gd name="T3" fmla="*/ 0 h 3"/>
                  <a:gd name="T4" fmla="*/ 7 w 7"/>
                  <a:gd name="T5" fmla="*/ 2 h 3"/>
                  <a:gd name="T6" fmla="*/ 7 w 7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3">
                    <a:moveTo>
                      <a:pt x="7" y="3"/>
                    </a:moveTo>
                    <a:lnTo>
                      <a:pt x="0" y="0"/>
                    </a:lnTo>
                    <a:lnTo>
                      <a:pt x="7" y="2"/>
                    </a:lnTo>
                    <a:lnTo>
                      <a:pt x="7" y="3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699" name="Freeform 24">
                <a:extLst>
                  <a:ext uri="{FF2B5EF4-FFF2-40B4-BE49-F238E27FC236}">
                    <a16:creationId xmlns:a16="http://schemas.microsoft.com/office/drawing/2014/main" id="{96C10A21-95B1-D926-457B-ABB1F9FDE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71700"/>
                <a:ext cx="19050" cy="4762"/>
              </a:xfrm>
              <a:custGeom>
                <a:avLst/>
                <a:gdLst>
                  <a:gd name="T0" fmla="*/ 0 w 12"/>
                  <a:gd name="T1" fmla="*/ 0 h 3"/>
                  <a:gd name="T2" fmla="*/ 7 w 12"/>
                  <a:gd name="T3" fmla="*/ 3 h 3"/>
                  <a:gd name="T4" fmla="*/ 12 w 12"/>
                  <a:gd name="T5" fmla="*/ 3 h 3"/>
                  <a:gd name="T6" fmla="*/ 12 w 12"/>
                  <a:gd name="T7" fmla="*/ 3 h 3"/>
                  <a:gd name="T8" fmla="*/ 0 w 1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">
                    <a:moveTo>
                      <a:pt x="0" y="0"/>
                    </a:moveTo>
                    <a:lnTo>
                      <a:pt x="7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0" name="Freeform 25">
                <a:extLst>
                  <a:ext uri="{FF2B5EF4-FFF2-40B4-BE49-F238E27FC236}">
                    <a16:creationId xmlns:a16="http://schemas.microsoft.com/office/drawing/2014/main" id="{5AE091EB-9A40-630F-A0D2-985BB5CC5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2168525"/>
                <a:ext cx="12700" cy="3175"/>
              </a:xfrm>
              <a:custGeom>
                <a:avLst/>
                <a:gdLst>
                  <a:gd name="T0" fmla="*/ 0 w 8"/>
                  <a:gd name="T1" fmla="*/ 2 h 2"/>
                  <a:gd name="T2" fmla="*/ 3 w 8"/>
                  <a:gd name="T3" fmla="*/ 2 h 2"/>
                  <a:gd name="T4" fmla="*/ 8 w 8"/>
                  <a:gd name="T5" fmla="*/ 0 h 2"/>
                  <a:gd name="T6" fmla="*/ 7 w 8"/>
                  <a:gd name="T7" fmla="*/ 0 h 2"/>
                  <a:gd name="T8" fmla="*/ 0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3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1" name="Freeform 26">
                <a:extLst>
                  <a:ext uri="{FF2B5EF4-FFF2-40B4-BE49-F238E27FC236}">
                    <a16:creationId xmlns:a16="http://schemas.microsoft.com/office/drawing/2014/main" id="{026DA091-5A96-CA14-91C3-522273D23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725" y="2025650"/>
                <a:ext cx="1039812" cy="495301"/>
              </a:xfrm>
              <a:custGeom>
                <a:avLst/>
                <a:gdLst>
                  <a:gd name="T0" fmla="*/ 545 w 655"/>
                  <a:gd name="T1" fmla="*/ 92 h 312"/>
                  <a:gd name="T2" fmla="*/ 567 w 655"/>
                  <a:gd name="T3" fmla="*/ 119 h 312"/>
                  <a:gd name="T4" fmla="*/ 597 w 655"/>
                  <a:gd name="T5" fmla="*/ 141 h 312"/>
                  <a:gd name="T6" fmla="*/ 606 w 655"/>
                  <a:gd name="T7" fmla="*/ 168 h 312"/>
                  <a:gd name="T8" fmla="*/ 618 w 655"/>
                  <a:gd name="T9" fmla="*/ 176 h 312"/>
                  <a:gd name="T10" fmla="*/ 635 w 655"/>
                  <a:gd name="T11" fmla="*/ 202 h 312"/>
                  <a:gd name="T12" fmla="*/ 645 w 655"/>
                  <a:gd name="T13" fmla="*/ 215 h 312"/>
                  <a:gd name="T14" fmla="*/ 616 w 655"/>
                  <a:gd name="T15" fmla="*/ 212 h 312"/>
                  <a:gd name="T16" fmla="*/ 592 w 655"/>
                  <a:gd name="T17" fmla="*/ 203 h 312"/>
                  <a:gd name="T18" fmla="*/ 577 w 655"/>
                  <a:gd name="T19" fmla="*/ 207 h 312"/>
                  <a:gd name="T20" fmla="*/ 545 w 655"/>
                  <a:gd name="T21" fmla="*/ 190 h 312"/>
                  <a:gd name="T22" fmla="*/ 511 w 655"/>
                  <a:gd name="T23" fmla="*/ 159 h 312"/>
                  <a:gd name="T24" fmla="*/ 487 w 655"/>
                  <a:gd name="T25" fmla="*/ 147 h 312"/>
                  <a:gd name="T26" fmla="*/ 456 w 655"/>
                  <a:gd name="T27" fmla="*/ 122 h 312"/>
                  <a:gd name="T28" fmla="*/ 439 w 655"/>
                  <a:gd name="T29" fmla="*/ 132 h 312"/>
                  <a:gd name="T30" fmla="*/ 417 w 655"/>
                  <a:gd name="T31" fmla="*/ 110 h 312"/>
                  <a:gd name="T32" fmla="*/ 383 w 655"/>
                  <a:gd name="T33" fmla="*/ 102 h 312"/>
                  <a:gd name="T34" fmla="*/ 351 w 655"/>
                  <a:gd name="T35" fmla="*/ 95 h 312"/>
                  <a:gd name="T36" fmla="*/ 322 w 655"/>
                  <a:gd name="T37" fmla="*/ 88 h 312"/>
                  <a:gd name="T38" fmla="*/ 286 w 655"/>
                  <a:gd name="T39" fmla="*/ 107 h 312"/>
                  <a:gd name="T40" fmla="*/ 255 w 655"/>
                  <a:gd name="T41" fmla="*/ 129 h 312"/>
                  <a:gd name="T42" fmla="*/ 240 w 655"/>
                  <a:gd name="T43" fmla="*/ 154 h 312"/>
                  <a:gd name="T44" fmla="*/ 215 w 655"/>
                  <a:gd name="T45" fmla="*/ 180 h 312"/>
                  <a:gd name="T46" fmla="*/ 187 w 655"/>
                  <a:gd name="T47" fmla="*/ 212 h 312"/>
                  <a:gd name="T48" fmla="*/ 170 w 655"/>
                  <a:gd name="T49" fmla="*/ 244 h 312"/>
                  <a:gd name="T50" fmla="*/ 148 w 655"/>
                  <a:gd name="T51" fmla="*/ 273 h 312"/>
                  <a:gd name="T52" fmla="*/ 111 w 655"/>
                  <a:gd name="T53" fmla="*/ 290 h 312"/>
                  <a:gd name="T54" fmla="*/ 78 w 655"/>
                  <a:gd name="T55" fmla="*/ 297 h 312"/>
                  <a:gd name="T56" fmla="*/ 48 w 655"/>
                  <a:gd name="T57" fmla="*/ 310 h 312"/>
                  <a:gd name="T58" fmla="*/ 9 w 655"/>
                  <a:gd name="T59" fmla="*/ 310 h 312"/>
                  <a:gd name="T60" fmla="*/ 10 w 655"/>
                  <a:gd name="T61" fmla="*/ 271 h 312"/>
                  <a:gd name="T62" fmla="*/ 34 w 655"/>
                  <a:gd name="T63" fmla="*/ 248 h 312"/>
                  <a:gd name="T64" fmla="*/ 55 w 655"/>
                  <a:gd name="T65" fmla="*/ 217 h 312"/>
                  <a:gd name="T66" fmla="*/ 60 w 655"/>
                  <a:gd name="T67" fmla="*/ 193 h 312"/>
                  <a:gd name="T68" fmla="*/ 96 w 655"/>
                  <a:gd name="T69" fmla="*/ 193 h 312"/>
                  <a:gd name="T70" fmla="*/ 131 w 655"/>
                  <a:gd name="T71" fmla="*/ 200 h 312"/>
                  <a:gd name="T72" fmla="*/ 138 w 655"/>
                  <a:gd name="T73" fmla="*/ 183 h 312"/>
                  <a:gd name="T74" fmla="*/ 150 w 655"/>
                  <a:gd name="T75" fmla="*/ 163 h 312"/>
                  <a:gd name="T76" fmla="*/ 148 w 655"/>
                  <a:gd name="T77" fmla="*/ 134 h 312"/>
                  <a:gd name="T78" fmla="*/ 162 w 655"/>
                  <a:gd name="T79" fmla="*/ 119 h 312"/>
                  <a:gd name="T80" fmla="*/ 184 w 655"/>
                  <a:gd name="T81" fmla="*/ 90 h 312"/>
                  <a:gd name="T82" fmla="*/ 187 w 655"/>
                  <a:gd name="T83" fmla="*/ 58 h 312"/>
                  <a:gd name="T84" fmla="*/ 220 w 655"/>
                  <a:gd name="T85" fmla="*/ 66 h 312"/>
                  <a:gd name="T86" fmla="*/ 242 w 655"/>
                  <a:gd name="T87" fmla="*/ 61 h 312"/>
                  <a:gd name="T88" fmla="*/ 269 w 655"/>
                  <a:gd name="T89" fmla="*/ 58 h 312"/>
                  <a:gd name="T90" fmla="*/ 283 w 655"/>
                  <a:gd name="T91" fmla="*/ 42 h 312"/>
                  <a:gd name="T92" fmla="*/ 308 w 655"/>
                  <a:gd name="T93" fmla="*/ 34 h 312"/>
                  <a:gd name="T94" fmla="*/ 325 w 655"/>
                  <a:gd name="T95" fmla="*/ 56 h 312"/>
                  <a:gd name="T96" fmla="*/ 340 w 655"/>
                  <a:gd name="T97" fmla="*/ 44 h 312"/>
                  <a:gd name="T98" fmla="*/ 364 w 655"/>
                  <a:gd name="T99" fmla="*/ 39 h 312"/>
                  <a:gd name="T100" fmla="*/ 364 w 655"/>
                  <a:gd name="T101" fmla="*/ 5 h 312"/>
                  <a:gd name="T102" fmla="*/ 388 w 655"/>
                  <a:gd name="T103" fmla="*/ 5 h 312"/>
                  <a:gd name="T104" fmla="*/ 410 w 655"/>
                  <a:gd name="T105" fmla="*/ 29 h 312"/>
                  <a:gd name="T106" fmla="*/ 436 w 655"/>
                  <a:gd name="T107" fmla="*/ 22 h 312"/>
                  <a:gd name="T108" fmla="*/ 463 w 655"/>
                  <a:gd name="T109" fmla="*/ 27 h 312"/>
                  <a:gd name="T110" fmla="*/ 490 w 655"/>
                  <a:gd name="T111" fmla="*/ 30 h 312"/>
                  <a:gd name="T112" fmla="*/ 511 w 655"/>
                  <a:gd name="T113" fmla="*/ 58 h 312"/>
                  <a:gd name="T114" fmla="*/ 495 w 655"/>
                  <a:gd name="T115" fmla="*/ 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55" h="312">
                    <a:moveTo>
                      <a:pt x="519" y="86"/>
                    </a:moveTo>
                    <a:lnTo>
                      <a:pt x="523" y="86"/>
                    </a:lnTo>
                    <a:lnTo>
                      <a:pt x="524" y="83"/>
                    </a:lnTo>
                    <a:lnTo>
                      <a:pt x="529" y="85"/>
                    </a:lnTo>
                    <a:lnTo>
                      <a:pt x="534" y="85"/>
                    </a:lnTo>
                    <a:lnTo>
                      <a:pt x="538" y="85"/>
                    </a:lnTo>
                    <a:lnTo>
                      <a:pt x="541" y="88"/>
                    </a:lnTo>
                    <a:lnTo>
                      <a:pt x="545" y="92"/>
                    </a:lnTo>
                    <a:lnTo>
                      <a:pt x="548" y="92"/>
                    </a:lnTo>
                    <a:lnTo>
                      <a:pt x="551" y="95"/>
                    </a:lnTo>
                    <a:lnTo>
                      <a:pt x="551" y="102"/>
                    </a:lnTo>
                    <a:lnTo>
                      <a:pt x="553" y="107"/>
                    </a:lnTo>
                    <a:lnTo>
                      <a:pt x="558" y="108"/>
                    </a:lnTo>
                    <a:lnTo>
                      <a:pt x="562" y="108"/>
                    </a:lnTo>
                    <a:lnTo>
                      <a:pt x="565" y="112"/>
                    </a:lnTo>
                    <a:lnTo>
                      <a:pt x="567" y="119"/>
                    </a:lnTo>
                    <a:lnTo>
                      <a:pt x="572" y="122"/>
                    </a:lnTo>
                    <a:lnTo>
                      <a:pt x="575" y="125"/>
                    </a:lnTo>
                    <a:lnTo>
                      <a:pt x="577" y="129"/>
                    </a:lnTo>
                    <a:lnTo>
                      <a:pt x="582" y="132"/>
                    </a:lnTo>
                    <a:lnTo>
                      <a:pt x="585" y="134"/>
                    </a:lnTo>
                    <a:lnTo>
                      <a:pt x="589" y="136"/>
                    </a:lnTo>
                    <a:lnTo>
                      <a:pt x="594" y="137"/>
                    </a:lnTo>
                    <a:lnTo>
                      <a:pt x="597" y="141"/>
                    </a:lnTo>
                    <a:lnTo>
                      <a:pt x="601" y="146"/>
                    </a:lnTo>
                    <a:lnTo>
                      <a:pt x="602" y="153"/>
                    </a:lnTo>
                    <a:lnTo>
                      <a:pt x="602" y="156"/>
                    </a:lnTo>
                    <a:lnTo>
                      <a:pt x="606" y="158"/>
                    </a:lnTo>
                    <a:lnTo>
                      <a:pt x="604" y="163"/>
                    </a:lnTo>
                    <a:lnTo>
                      <a:pt x="602" y="166"/>
                    </a:lnTo>
                    <a:lnTo>
                      <a:pt x="602" y="173"/>
                    </a:lnTo>
                    <a:lnTo>
                      <a:pt x="606" y="168"/>
                    </a:lnTo>
                    <a:lnTo>
                      <a:pt x="609" y="164"/>
                    </a:lnTo>
                    <a:lnTo>
                      <a:pt x="613" y="163"/>
                    </a:lnTo>
                    <a:lnTo>
                      <a:pt x="616" y="166"/>
                    </a:lnTo>
                    <a:lnTo>
                      <a:pt x="621" y="166"/>
                    </a:lnTo>
                    <a:lnTo>
                      <a:pt x="614" y="173"/>
                    </a:lnTo>
                    <a:lnTo>
                      <a:pt x="609" y="176"/>
                    </a:lnTo>
                    <a:lnTo>
                      <a:pt x="614" y="176"/>
                    </a:lnTo>
                    <a:lnTo>
                      <a:pt x="618" y="176"/>
                    </a:lnTo>
                    <a:lnTo>
                      <a:pt x="621" y="176"/>
                    </a:lnTo>
                    <a:lnTo>
                      <a:pt x="625" y="176"/>
                    </a:lnTo>
                    <a:lnTo>
                      <a:pt x="630" y="176"/>
                    </a:lnTo>
                    <a:lnTo>
                      <a:pt x="631" y="181"/>
                    </a:lnTo>
                    <a:lnTo>
                      <a:pt x="633" y="185"/>
                    </a:lnTo>
                    <a:lnTo>
                      <a:pt x="633" y="192"/>
                    </a:lnTo>
                    <a:lnTo>
                      <a:pt x="636" y="197"/>
                    </a:lnTo>
                    <a:lnTo>
                      <a:pt x="635" y="202"/>
                    </a:lnTo>
                    <a:lnTo>
                      <a:pt x="638" y="198"/>
                    </a:lnTo>
                    <a:lnTo>
                      <a:pt x="640" y="195"/>
                    </a:lnTo>
                    <a:lnTo>
                      <a:pt x="645" y="193"/>
                    </a:lnTo>
                    <a:lnTo>
                      <a:pt x="650" y="195"/>
                    </a:lnTo>
                    <a:lnTo>
                      <a:pt x="655" y="200"/>
                    </a:lnTo>
                    <a:lnTo>
                      <a:pt x="655" y="205"/>
                    </a:lnTo>
                    <a:lnTo>
                      <a:pt x="650" y="210"/>
                    </a:lnTo>
                    <a:lnTo>
                      <a:pt x="645" y="215"/>
                    </a:lnTo>
                    <a:lnTo>
                      <a:pt x="643" y="220"/>
                    </a:lnTo>
                    <a:lnTo>
                      <a:pt x="638" y="217"/>
                    </a:lnTo>
                    <a:lnTo>
                      <a:pt x="635" y="220"/>
                    </a:lnTo>
                    <a:lnTo>
                      <a:pt x="633" y="224"/>
                    </a:lnTo>
                    <a:lnTo>
                      <a:pt x="630" y="222"/>
                    </a:lnTo>
                    <a:lnTo>
                      <a:pt x="625" y="219"/>
                    </a:lnTo>
                    <a:lnTo>
                      <a:pt x="621" y="217"/>
                    </a:lnTo>
                    <a:lnTo>
                      <a:pt x="616" y="212"/>
                    </a:lnTo>
                    <a:lnTo>
                      <a:pt x="614" y="209"/>
                    </a:lnTo>
                    <a:lnTo>
                      <a:pt x="611" y="207"/>
                    </a:lnTo>
                    <a:lnTo>
                      <a:pt x="608" y="207"/>
                    </a:lnTo>
                    <a:lnTo>
                      <a:pt x="604" y="203"/>
                    </a:lnTo>
                    <a:lnTo>
                      <a:pt x="602" y="200"/>
                    </a:lnTo>
                    <a:lnTo>
                      <a:pt x="599" y="200"/>
                    </a:lnTo>
                    <a:lnTo>
                      <a:pt x="594" y="198"/>
                    </a:lnTo>
                    <a:lnTo>
                      <a:pt x="592" y="203"/>
                    </a:lnTo>
                    <a:lnTo>
                      <a:pt x="592" y="207"/>
                    </a:lnTo>
                    <a:lnTo>
                      <a:pt x="599" y="214"/>
                    </a:lnTo>
                    <a:lnTo>
                      <a:pt x="597" y="217"/>
                    </a:lnTo>
                    <a:lnTo>
                      <a:pt x="592" y="217"/>
                    </a:lnTo>
                    <a:lnTo>
                      <a:pt x="589" y="214"/>
                    </a:lnTo>
                    <a:lnTo>
                      <a:pt x="585" y="212"/>
                    </a:lnTo>
                    <a:lnTo>
                      <a:pt x="580" y="210"/>
                    </a:lnTo>
                    <a:lnTo>
                      <a:pt x="577" y="207"/>
                    </a:lnTo>
                    <a:lnTo>
                      <a:pt x="572" y="203"/>
                    </a:lnTo>
                    <a:lnTo>
                      <a:pt x="568" y="198"/>
                    </a:lnTo>
                    <a:lnTo>
                      <a:pt x="567" y="195"/>
                    </a:lnTo>
                    <a:lnTo>
                      <a:pt x="562" y="193"/>
                    </a:lnTo>
                    <a:lnTo>
                      <a:pt x="558" y="190"/>
                    </a:lnTo>
                    <a:lnTo>
                      <a:pt x="553" y="186"/>
                    </a:lnTo>
                    <a:lnTo>
                      <a:pt x="548" y="186"/>
                    </a:lnTo>
                    <a:lnTo>
                      <a:pt x="545" y="190"/>
                    </a:lnTo>
                    <a:lnTo>
                      <a:pt x="538" y="181"/>
                    </a:lnTo>
                    <a:lnTo>
                      <a:pt x="538" y="178"/>
                    </a:lnTo>
                    <a:lnTo>
                      <a:pt x="534" y="176"/>
                    </a:lnTo>
                    <a:lnTo>
                      <a:pt x="531" y="173"/>
                    </a:lnTo>
                    <a:lnTo>
                      <a:pt x="528" y="168"/>
                    </a:lnTo>
                    <a:lnTo>
                      <a:pt x="521" y="164"/>
                    </a:lnTo>
                    <a:lnTo>
                      <a:pt x="516" y="161"/>
                    </a:lnTo>
                    <a:lnTo>
                      <a:pt x="511" y="159"/>
                    </a:lnTo>
                    <a:lnTo>
                      <a:pt x="511" y="156"/>
                    </a:lnTo>
                    <a:lnTo>
                      <a:pt x="507" y="153"/>
                    </a:lnTo>
                    <a:lnTo>
                      <a:pt x="502" y="154"/>
                    </a:lnTo>
                    <a:lnTo>
                      <a:pt x="499" y="153"/>
                    </a:lnTo>
                    <a:lnTo>
                      <a:pt x="495" y="153"/>
                    </a:lnTo>
                    <a:lnTo>
                      <a:pt x="494" y="147"/>
                    </a:lnTo>
                    <a:lnTo>
                      <a:pt x="490" y="146"/>
                    </a:lnTo>
                    <a:lnTo>
                      <a:pt x="487" y="147"/>
                    </a:lnTo>
                    <a:lnTo>
                      <a:pt x="483" y="142"/>
                    </a:lnTo>
                    <a:lnTo>
                      <a:pt x="483" y="139"/>
                    </a:lnTo>
                    <a:lnTo>
                      <a:pt x="480" y="136"/>
                    </a:lnTo>
                    <a:lnTo>
                      <a:pt x="475" y="132"/>
                    </a:lnTo>
                    <a:lnTo>
                      <a:pt x="468" y="129"/>
                    </a:lnTo>
                    <a:lnTo>
                      <a:pt x="465" y="127"/>
                    </a:lnTo>
                    <a:lnTo>
                      <a:pt x="461" y="124"/>
                    </a:lnTo>
                    <a:lnTo>
                      <a:pt x="456" y="122"/>
                    </a:lnTo>
                    <a:lnTo>
                      <a:pt x="453" y="120"/>
                    </a:lnTo>
                    <a:lnTo>
                      <a:pt x="449" y="119"/>
                    </a:lnTo>
                    <a:lnTo>
                      <a:pt x="446" y="117"/>
                    </a:lnTo>
                    <a:lnTo>
                      <a:pt x="443" y="115"/>
                    </a:lnTo>
                    <a:lnTo>
                      <a:pt x="441" y="119"/>
                    </a:lnTo>
                    <a:lnTo>
                      <a:pt x="439" y="122"/>
                    </a:lnTo>
                    <a:lnTo>
                      <a:pt x="437" y="127"/>
                    </a:lnTo>
                    <a:lnTo>
                      <a:pt x="439" y="132"/>
                    </a:lnTo>
                    <a:lnTo>
                      <a:pt x="436" y="131"/>
                    </a:lnTo>
                    <a:lnTo>
                      <a:pt x="431" y="129"/>
                    </a:lnTo>
                    <a:lnTo>
                      <a:pt x="426" y="127"/>
                    </a:lnTo>
                    <a:lnTo>
                      <a:pt x="422" y="125"/>
                    </a:lnTo>
                    <a:lnTo>
                      <a:pt x="422" y="122"/>
                    </a:lnTo>
                    <a:lnTo>
                      <a:pt x="422" y="117"/>
                    </a:lnTo>
                    <a:lnTo>
                      <a:pt x="420" y="112"/>
                    </a:lnTo>
                    <a:lnTo>
                      <a:pt x="417" y="110"/>
                    </a:lnTo>
                    <a:lnTo>
                      <a:pt x="414" y="108"/>
                    </a:lnTo>
                    <a:lnTo>
                      <a:pt x="410" y="107"/>
                    </a:lnTo>
                    <a:lnTo>
                      <a:pt x="405" y="107"/>
                    </a:lnTo>
                    <a:lnTo>
                      <a:pt x="402" y="105"/>
                    </a:lnTo>
                    <a:lnTo>
                      <a:pt x="397" y="103"/>
                    </a:lnTo>
                    <a:lnTo>
                      <a:pt x="393" y="103"/>
                    </a:lnTo>
                    <a:lnTo>
                      <a:pt x="388" y="102"/>
                    </a:lnTo>
                    <a:lnTo>
                      <a:pt x="383" y="102"/>
                    </a:lnTo>
                    <a:lnTo>
                      <a:pt x="380" y="100"/>
                    </a:lnTo>
                    <a:lnTo>
                      <a:pt x="371" y="100"/>
                    </a:lnTo>
                    <a:lnTo>
                      <a:pt x="368" y="98"/>
                    </a:lnTo>
                    <a:lnTo>
                      <a:pt x="366" y="93"/>
                    </a:lnTo>
                    <a:lnTo>
                      <a:pt x="363" y="92"/>
                    </a:lnTo>
                    <a:lnTo>
                      <a:pt x="363" y="97"/>
                    </a:lnTo>
                    <a:lnTo>
                      <a:pt x="357" y="97"/>
                    </a:lnTo>
                    <a:lnTo>
                      <a:pt x="351" y="95"/>
                    </a:lnTo>
                    <a:lnTo>
                      <a:pt x="340" y="92"/>
                    </a:lnTo>
                    <a:lnTo>
                      <a:pt x="346" y="90"/>
                    </a:lnTo>
                    <a:lnTo>
                      <a:pt x="342" y="88"/>
                    </a:lnTo>
                    <a:lnTo>
                      <a:pt x="337" y="88"/>
                    </a:lnTo>
                    <a:lnTo>
                      <a:pt x="334" y="88"/>
                    </a:lnTo>
                    <a:lnTo>
                      <a:pt x="330" y="88"/>
                    </a:lnTo>
                    <a:lnTo>
                      <a:pt x="325" y="88"/>
                    </a:lnTo>
                    <a:lnTo>
                      <a:pt x="322" y="88"/>
                    </a:lnTo>
                    <a:lnTo>
                      <a:pt x="318" y="88"/>
                    </a:lnTo>
                    <a:lnTo>
                      <a:pt x="312" y="92"/>
                    </a:lnTo>
                    <a:lnTo>
                      <a:pt x="306" y="93"/>
                    </a:lnTo>
                    <a:lnTo>
                      <a:pt x="305" y="98"/>
                    </a:lnTo>
                    <a:lnTo>
                      <a:pt x="300" y="100"/>
                    </a:lnTo>
                    <a:lnTo>
                      <a:pt x="296" y="100"/>
                    </a:lnTo>
                    <a:lnTo>
                      <a:pt x="291" y="103"/>
                    </a:lnTo>
                    <a:lnTo>
                      <a:pt x="286" y="107"/>
                    </a:lnTo>
                    <a:lnTo>
                      <a:pt x="283" y="108"/>
                    </a:lnTo>
                    <a:lnTo>
                      <a:pt x="279" y="110"/>
                    </a:lnTo>
                    <a:lnTo>
                      <a:pt x="274" y="112"/>
                    </a:lnTo>
                    <a:lnTo>
                      <a:pt x="271" y="115"/>
                    </a:lnTo>
                    <a:lnTo>
                      <a:pt x="264" y="120"/>
                    </a:lnTo>
                    <a:lnTo>
                      <a:pt x="259" y="122"/>
                    </a:lnTo>
                    <a:lnTo>
                      <a:pt x="255" y="125"/>
                    </a:lnTo>
                    <a:lnTo>
                      <a:pt x="255" y="129"/>
                    </a:lnTo>
                    <a:lnTo>
                      <a:pt x="252" y="132"/>
                    </a:lnTo>
                    <a:lnTo>
                      <a:pt x="249" y="132"/>
                    </a:lnTo>
                    <a:lnTo>
                      <a:pt x="244" y="136"/>
                    </a:lnTo>
                    <a:lnTo>
                      <a:pt x="242" y="139"/>
                    </a:lnTo>
                    <a:lnTo>
                      <a:pt x="242" y="144"/>
                    </a:lnTo>
                    <a:lnTo>
                      <a:pt x="245" y="146"/>
                    </a:lnTo>
                    <a:lnTo>
                      <a:pt x="244" y="151"/>
                    </a:lnTo>
                    <a:lnTo>
                      <a:pt x="240" y="154"/>
                    </a:lnTo>
                    <a:lnTo>
                      <a:pt x="237" y="158"/>
                    </a:lnTo>
                    <a:lnTo>
                      <a:pt x="235" y="166"/>
                    </a:lnTo>
                    <a:lnTo>
                      <a:pt x="237" y="170"/>
                    </a:lnTo>
                    <a:lnTo>
                      <a:pt x="233" y="171"/>
                    </a:lnTo>
                    <a:lnTo>
                      <a:pt x="230" y="173"/>
                    </a:lnTo>
                    <a:lnTo>
                      <a:pt x="225" y="175"/>
                    </a:lnTo>
                    <a:lnTo>
                      <a:pt x="218" y="178"/>
                    </a:lnTo>
                    <a:lnTo>
                      <a:pt x="215" y="180"/>
                    </a:lnTo>
                    <a:lnTo>
                      <a:pt x="208" y="181"/>
                    </a:lnTo>
                    <a:lnTo>
                      <a:pt x="199" y="186"/>
                    </a:lnTo>
                    <a:lnTo>
                      <a:pt x="198" y="190"/>
                    </a:lnTo>
                    <a:lnTo>
                      <a:pt x="194" y="193"/>
                    </a:lnTo>
                    <a:lnTo>
                      <a:pt x="191" y="200"/>
                    </a:lnTo>
                    <a:lnTo>
                      <a:pt x="189" y="203"/>
                    </a:lnTo>
                    <a:lnTo>
                      <a:pt x="187" y="209"/>
                    </a:lnTo>
                    <a:lnTo>
                      <a:pt x="187" y="212"/>
                    </a:lnTo>
                    <a:lnTo>
                      <a:pt x="187" y="217"/>
                    </a:lnTo>
                    <a:lnTo>
                      <a:pt x="187" y="220"/>
                    </a:lnTo>
                    <a:lnTo>
                      <a:pt x="182" y="224"/>
                    </a:lnTo>
                    <a:lnTo>
                      <a:pt x="179" y="229"/>
                    </a:lnTo>
                    <a:lnTo>
                      <a:pt x="175" y="232"/>
                    </a:lnTo>
                    <a:lnTo>
                      <a:pt x="172" y="236"/>
                    </a:lnTo>
                    <a:lnTo>
                      <a:pt x="170" y="239"/>
                    </a:lnTo>
                    <a:lnTo>
                      <a:pt x="170" y="244"/>
                    </a:lnTo>
                    <a:lnTo>
                      <a:pt x="174" y="251"/>
                    </a:lnTo>
                    <a:lnTo>
                      <a:pt x="170" y="253"/>
                    </a:lnTo>
                    <a:lnTo>
                      <a:pt x="165" y="254"/>
                    </a:lnTo>
                    <a:lnTo>
                      <a:pt x="164" y="259"/>
                    </a:lnTo>
                    <a:lnTo>
                      <a:pt x="158" y="263"/>
                    </a:lnTo>
                    <a:lnTo>
                      <a:pt x="153" y="264"/>
                    </a:lnTo>
                    <a:lnTo>
                      <a:pt x="150" y="270"/>
                    </a:lnTo>
                    <a:lnTo>
                      <a:pt x="148" y="273"/>
                    </a:lnTo>
                    <a:lnTo>
                      <a:pt x="143" y="275"/>
                    </a:lnTo>
                    <a:lnTo>
                      <a:pt x="140" y="275"/>
                    </a:lnTo>
                    <a:lnTo>
                      <a:pt x="135" y="278"/>
                    </a:lnTo>
                    <a:lnTo>
                      <a:pt x="128" y="281"/>
                    </a:lnTo>
                    <a:lnTo>
                      <a:pt x="123" y="285"/>
                    </a:lnTo>
                    <a:lnTo>
                      <a:pt x="119" y="288"/>
                    </a:lnTo>
                    <a:lnTo>
                      <a:pt x="116" y="290"/>
                    </a:lnTo>
                    <a:lnTo>
                      <a:pt x="111" y="290"/>
                    </a:lnTo>
                    <a:lnTo>
                      <a:pt x="107" y="290"/>
                    </a:lnTo>
                    <a:lnTo>
                      <a:pt x="104" y="292"/>
                    </a:lnTo>
                    <a:lnTo>
                      <a:pt x="99" y="293"/>
                    </a:lnTo>
                    <a:lnTo>
                      <a:pt x="96" y="293"/>
                    </a:lnTo>
                    <a:lnTo>
                      <a:pt x="89" y="295"/>
                    </a:lnTo>
                    <a:lnTo>
                      <a:pt x="87" y="298"/>
                    </a:lnTo>
                    <a:lnTo>
                      <a:pt x="84" y="298"/>
                    </a:lnTo>
                    <a:lnTo>
                      <a:pt x="78" y="297"/>
                    </a:lnTo>
                    <a:lnTo>
                      <a:pt x="73" y="298"/>
                    </a:lnTo>
                    <a:lnTo>
                      <a:pt x="70" y="300"/>
                    </a:lnTo>
                    <a:lnTo>
                      <a:pt x="65" y="302"/>
                    </a:lnTo>
                    <a:lnTo>
                      <a:pt x="61" y="305"/>
                    </a:lnTo>
                    <a:lnTo>
                      <a:pt x="58" y="305"/>
                    </a:lnTo>
                    <a:lnTo>
                      <a:pt x="55" y="305"/>
                    </a:lnTo>
                    <a:lnTo>
                      <a:pt x="51" y="305"/>
                    </a:lnTo>
                    <a:lnTo>
                      <a:pt x="48" y="310"/>
                    </a:lnTo>
                    <a:lnTo>
                      <a:pt x="44" y="312"/>
                    </a:lnTo>
                    <a:lnTo>
                      <a:pt x="38" y="312"/>
                    </a:lnTo>
                    <a:lnTo>
                      <a:pt x="34" y="310"/>
                    </a:lnTo>
                    <a:lnTo>
                      <a:pt x="31" y="309"/>
                    </a:lnTo>
                    <a:lnTo>
                      <a:pt x="26" y="309"/>
                    </a:lnTo>
                    <a:lnTo>
                      <a:pt x="21" y="307"/>
                    </a:lnTo>
                    <a:lnTo>
                      <a:pt x="16" y="309"/>
                    </a:lnTo>
                    <a:lnTo>
                      <a:pt x="9" y="310"/>
                    </a:lnTo>
                    <a:lnTo>
                      <a:pt x="7" y="307"/>
                    </a:lnTo>
                    <a:lnTo>
                      <a:pt x="5" y="302"/>
                    </a:lnTo>
                    <a:lnTo>
                      <a:pt x="4" y="295"/>
                    </a:lnTo>
                    <a:lnTo>
                      <a:pt x="4" y="292"/>
                    </a:lnTo>
                    <a:lnTo>
                      <a:pt x="0" y="287"/>
                    </a:lnTo>
                    <a:lnTo>
                      <a:pt x="0" y="283"/>
                    </a:lnTo>
                    <a:lnTo>
                      <a:pt x="2" y="278"/>
                    </a:lnTo>
                    <a:lnTo>
                      <a:pt x="10" y="271"/>
                    </a:lnTo>
                    <a:lnTo>
                      <a:pt x="14" y="271"/>
                    </a:lnTo>
                    <a:lnTo>
                      <a:pt x="17" y="268"/>
                    </a:lnTo>
                    <a:lnTo>
                      <a:pt x="17" y="263"/>
                    </a:lnTo>
                    <a:lnTo>
                      <a:pt x="21" y="258"/>
                    </a:lnTo>
                    <a:lnTo>
                      <a:pt x="19" y="253"/>
                    </a:lnTo>
                    <a:lnTo>
                      <a:pt x="24" y="251"/>
                    </a:lnTo>
                    <a:lnTo>
                      <a:pt x="27" y="249"/>
                    </a:lnTo>
                    <a:lnTo>
                      <a:pt x="34" y="248"/>
                    </a:lnTo>
                    <a:lnTo>
                      <a:pt x="38" y="244"/>
                    </a:lnTo>
                    <a:lnTo>
                      <a:pt x="41" y="242"/>
                    </a:lnTo>
                    <a:lnTo>
                      <a:pt x="44" y="237"/>
                    </a:lnTo>
                    <a:lnTo>
                      <a:pt x="44" y="229"/>
                    </a:lnTo>
                    <a:lnTo>
                      <a:pt x="44" y="225"/>
                    </a:lnTo>
                    <a:lnTo>
                      <a:pt x="48" y="222"/>
                    </a:lnTo>
                    <a:lnTo>
                      <a:pt x="51" y="220"/>
                    </a:lnTo>
                    <a:lnTo>
                      <a:pt x="55" y="217"/>
                    </a:lnTo>
                    <a:lnTo>
                      <a:pt x="58" y="214"/>
                    </a:lnTo>
                    <a:lnTo>
                      <a:pt x="61" y="214"/>
                    </a:lnTo>
                    <a:lnTo>
                      <a:pt x="61" y="209"/>
                    </a:lnTo>
                    <a:lnTo>
                      <a:pt x="67" y="207"/>
                    </a:lnTo>
                    <a:lnTo>
                      <a:pt x="61" y="205"/>
                    </a:lnTo>
                    <a:lnTo>
                      <a:pt x="60" y="200"/>
                    </a:lnTo>
                    <a:lnTo>
                      <a:pt x="58" y="197"/>
                    </a:lnTo>
                    <a:lnTo>
                      <a:pt x="60" y="193"/>
                    </a:lnTo>
                    <a:lnTo>
                      <a:pt x="63" y="190"/>
                    </a:lnTo>
                    <a:lnTo>
                      <a:pt x="67" y="186"/>
                    </a:lnTo>
                    <a:lnTo>
                      <a:pt x="73" y="186"/>
                    </a:lnTo>
                    <a:lnTo>
                      <a:pt x="77" y="188"/>
                    </a:lnTo>
                    <a:lnTo>
                      <a:pt x="84" y="192"/>
                    </a:lnTo>
                    <a:lnTo>
                      <a:pt x="87" y="193"/>
                    </a:lnTo>
                    <a:lnTo>
                      <a:pt x="90" y="193"/>
                    </a:lnTo>
                    <a:lnTo>
                      <a:pt x="96" y="193"/>
                    </a:lnTo>
                    <a:lnTo>
                      <a:pt x="99" y="195"/>
                    </a:lnTo>
                    <a:lnTo>
                      <a:pt x="106" y="197"/>
                    </a:lnTo>
                    <a:lnTo>
                      <a:pt x="109" y="197"/>
                    </a:lnTo>
                    <a:lnTo>
                      <a:pt x="113" y="200"/>
                    </a:lnTo>
                    <a:lnTo>
                      <a:pt x="118" y="200"/>
                    </a:lnTo>
                    <a:lnTo>
                      <a:pt x="123" y="197"/>
                    </a:lnTo>
                    <a:lnTo>
                      <a:pt x="128" y="197"/>
                    </a:lnTo>
                    <a:lnTo>
                      <a:pt x="131" y="200"/>
                    </a:lnTo>
                    <a:lnTo>
                      <a:pt x="131" y="195"/>
                    </a:lnTo>
                    <a:lnTo>
                      <a:pt x="131" y="192"/>
                    </a:lnTo>
                    <a:lnTo>
                      <a:pt x="128" y="192"/>
                    </a:lnTo>
                    <a:lnTo>
                      <a:pt x="124" y="188"/>
                    </a:lnTo>
                    <a:lnTo>
                      <a:pt x="128" y="185"/>
                    </a:lnTo>
                    <a:lnTo>
                      <a:pt x="131" y="181"/>
                    </a:lnTo>
                    <a:lnTo>
                      <a:pt x="135" y="181"/>
                    </a:lnTo>
                    <a:lnTo>
                      <a:pt x="138" y="183"/>
                    </a:lnTo>
                    <a:lnTo>
                      <a:pt x="143" y="186"/>
                    </a:lnTo>
                    <a:lnTo>
                      <a:pt x="147" y="185"/>
                    </a:lnTo>
                    <a:lnTo>
                      <a:pt x="150" y="181"/>
                    </a:lnTo>
                    <a:lnTo>
                      <a:pt x="152" y="176"/>
                    </a:lnTo>
                    <a:lnTo>
                      <a:pt x="155" y="173"/>
                    </a:lnTo>
                    <a:lnTo>
                      <a:pt x="153" y="168"/>
                    </a:lnTo>
                    <a:lnTo>
                      <a:pt x="153" y="164"/>
                    </a:lnTo>
                    <a:lnTo>
                      <a:pt x="150" y="163"/>
                    </a:lnTo>
                    <a:lnTo>
                      <a:pt x="147" y="159"/>
                    </a:lnTo>
                    <a:lnTo>
                      <a:pt x="148" y="156"/>
                    </a:lnTo>
                    <a:lnTo>
                      <a:pt x="150" y="153"/>
                    </a:lnTo>
                    <a:lnTo>
                      <a:pt x="147" y="147"/>
                    </a:lnTo>
                    <a:lnTo>
                      <a:pt x="150" y="144"/>
                    </a:lnTo>
                    <a:lnTo>
                      <a:pt x="153" y="141"/>
                    </a:lnTo>
                    <a:lnTo>
                      <a:pt x="152" y="137"/>
                    </a:lnTo>
                    <a:lnTo>
                      <a:pt x="148" y="134"/>
                    </a:lnTo>
                    <a:lnTo>
                      <a:pt x="147" y="131"/>
                    </a:lnTo>
                    <a:lnTo>
                      <a:pt x="148" y="125"/>
                    </a:lnTo>
                    <a:lnTo>
                      <a:pt x="153" y="129"/>
                    </a:lnTo>
                    <a:lnTo>
                      <a:pt x="157" y="131"/>
                    </a:lnTo>
                    <a:lnTo>
                      <a:pt x="157" y="127"/>
                    </a:lnTo>
                    <a:lnTo>
                      <a:pt x="158" y="122"/>
                    </a:lnTo>
                    <a:lnTo>
                      <a:pt x="158" y="119"/>
                    </a:lnTo>
                    <a:lnTo>
                      <a:pt x="162" y="119"/>
                    </a:lnTo>
                    <a:lnTo>
                      <a:pt x="167" y="115"/>
                    </a:lnTo>
                    <a:lnTo>
                      <a:pt x="169" y="112"/>
                    </a:lnTo>
                    <a:lnTo>
                      <a:pt x="167" y="108"/>
                    </a:lnTo>
                    <a:lnTo>
                      <a:pt x="169" y="105"/>
                    </a:lnTo>
                    <a:lnTo>
                      <a:pt x="170" y="100"/>
                    </a:lnTo>
                    <a:lnTo>
                      <a:pt x="177" y="97"/>
                    </a:lnTo>
                    <a:lnTo>
                      <a:pt x="182" y="95"/>
                    </a:lnTo>
                    <a:lnTo>
                      <a:pt x="184" y="90"/>
                    </a:lnTo>
                    <a:lnTo>
                      <a:pt x="187" y="86"/>
                    </a:lnTo>
                    <a:lnTo>
                      <a:pt x="187" y="83"/>
                    </a:lnTo>
                    <a:lnTo>
                      <a:pt x="184" y="80"/>
                    </a:lnTo>
                    <a:lnTo>
                      <a:pt x="181" y="73"/>
                    </a:lnTo>
                    <a:lnTo>
                      <a:pt x="181" y="68"/>
                    </a:lnTo>
                    <a:lnTo>
                      <a:pt x="187" y="68"/>
                    </a:lnTo>
                    <a:lnTo>
                      <a:pt x="187" y="63"/>
                    </a:lnTo>
                    <a:lnTo>
                      <a:pt x="187" y="58"/>
                    </a:lnTo>
                    <a:lnTo>
                      <a:pt x="191" y="54"/>
                    </a:lnTo>
                    <a:lnTo>
                      <a:pt x="196" y="51"/>
                    </a:lnTo>
                    <a:lnTo>
                      <a:pt x="199" y="56"/>
                    </a:lnTo>
                    <a:lnTo>
                      <a:pt x="204" y="59"/>
                    </a:lnTo>
                    <a:lnTo>
                      <a:pt x="208" y="59"/>
                    </a:lnTo>
                    <a:lnTo>
                      <a:pt x="213" y="64"/>
                    </a:lnTo>
                    <a:lnTo>
                      <a:pt x="216" y="64"/>
                    </a:lnTo>
                    <a:lnTo>
                      <a:pt x="220" y="66"/>
                    </a:lnTo>
                    <a:lnTo>
                      <a:pt x="221" y="71"/>
                    </a:lnTo>
                    <a:lnTo>
                      <a:pt x="225" y="71"/>
                    </a:lnTo>
                    <a:lnTo>
                      <a:pt x="230" y="69"/>
                    </a:lnTo>
                    <a:lnTo>
                      <a:pt x="230" y="64"/>
                    </a:lnTo>
                    <a:lnTo>
                      <a:pt x="233" y="61"/>
                    </a:lnTo>
                    <a:lnTo>
                      <a:pt x="233" y="58"/>
                    </a:lnTo>
                    <a:lnTo>
                      <a:pt x="237" y="56"/>
                    </a:lnTo>
                    <a:lnTo>
                      <a:pt x="242" y="61"/>
                    </a:lnTo>
                    <a:lnTo>
                      <a:pt x="245" y="63"/>
                    </a:lnTo>
                    <a:lnTo>
                      <a:pt x="245" y="58"/>
                    </a:lnTo>
                    <a:lnTo>
                      <a:pt x="250" y="54"/>
                    </a:lnTo>
                    <a:lnTo>
                      <a:pt x="254" y="58"/>
                    </a:lnTo>
                    <a:lnTo>
                      <a:pt x="259" y="58"/>
                    </a:lnTo>
                    <a:lnTo>
                      <a:pt x="262" y="58"/>
                    </a:lnTo>
                    <a:lnTo>
                      <a:pt x="266" y="58"/>
                    </a:lnTo>
                    <a:lnTo>
                      <a:pt x="269" y="58"/>
                    </a:lnTo>
                    <a:lnTo>
                      <a:pt x="272" y="61"/>
                    </a:lnTo>
                    <a:lnTo>
                      <a:pt x="278" y="58"/>
                    </a:lnTo>
                    <a:lnTo>
                      <a:pt x="276" y="54"/>
                    </a:lnTo>
                    <a:lnTo>
                      <a:pt x="279" y="53"/>
                    </a:lnTo>
                    <a:lnTo>
                      <a:pt x="281" y="49"/>
                    </a:lnTo>
                    <a:lnTo>
                      <a:pt x="284" y="47"/>
                    </a:lnTo>
                    <a:lnTo>
                      <a:pt x="286" y="44"/>
                    </a:lnTo>
                    <a:lnTo>
                      <a:pt x="283" y="42"/>
                    </a:lnTo>
                    <a:lnTo>
                      <a:pt x="283" y="37"/>
                    </a:lnTo>
                    <a:lnTo>
                      <a:pt x="286" y="37"/>
                    </a:lnTo>
                    <a:lnTo>
                      <a:pt x="288" y="32"/>
                    </a:lnTo>
                    <a:lnTo>
                      <a:pt x="293" y="34"/>
                    </a:lnTo>
                    <a:lnTo>
                      <a:pt x="296" y="34"/>
                    </a:lnTo>
                    <a:lnTo>
                      <a:pt x="300" y="32"/>
                    </a:lnTo>
                    <a:lnTo>
                      <a:pt x="305" y="34"/>
                    </a:lnTo>
                    <a:lnTo>
                      <a:pt x="308" y="34"/>
                    </a:lnTo>
                    <a:lnTo>
                      <a:pt x="312" y="32"/>
                    </a:lnTo>
                    <a:lnTo>
                      <a:pt x="315" y="36"/>
                    </a:lnTo>
                    <a:lnTo>
                      <a:pt x="318" y="41"/>
                    </a:lnTo>
                    <a:lnTo>
                      <a:pt x="320" y="44"/>
                    </a:lnTo>
                    <a:lnTo>
                      <a:pt x="322" y="47"/>
                    </a:lnTo>
                    <a:lnTo>
                      <a:pt x="322" y="51"/>
                    </a:lnTo>
                    <a:lnTo>
                      <a:pt x="325" y="53"/>
                    </a:lnTo>
                    <a:lnTo>
                      <a:pt x="325" y="56"/>
                    </a:lnTo>
                    <a:lnTo>
                      <a:pt x="327" y="59"/>
                    </a:lnTo>
                    <a:lnTo>
                      <a:pt x="325" y="64"/>
                    </a:lnTo>
                    <a:lnTo>
                      <a:pt x="329" y="66"/>
                    </a:lnTo>
                    <a:lnTo>
                      <a:pt x="332" y="61"/>
                    </a:lnTo>
                    <a:lnTo>
                      <a:pt x="332" y="56"/>
                    </a:lnTo>
                    <a:lnTo>
                      <a:pt x="334" y="51"/>
                    </a:lnTo>
                    <a:lnTo>
                      <a:pt x="337" y="49"/>
                    </a:lnTo>
                    <a:lnTo>
                      <a:pt x="340" y="44"/>
                    </a:lnTo>
                    <a:lnTo>
                      <a:pt x="340" y="41"/>
                    </a:lnTo>
                    <a:lnTo>
                      <a:pt x="344" y="41"/>
                    </a:lnTo>
                    <a:lnTo>
                      <a:pt x="347" y="41"/>
                    </a:lnTo>
                    <a:lnTo>
                      <a:pt x="351" y="39"/>
                    </a:lnTo>
                    <a:lnTo>
                      <a:pt x="354" y="42"/>
                    </a:lnTo>
                    <a:lnTo>
                      <a:pt x="357" y="42"/>
                    </a:lnTo>
                    <a:lnTo>
                      <a:pt x="361" y="41"/>
                    </a:lnTo>
                    <a:lnTo>
                      <a:pt x="364" y="39"/>
                    </a:lnTo>
                    <a:lnTo>
                      <a:pt x="361" y="34"/>
                    </a:lnTo>
                    <a:lnTo>
                      <a:pt x="361" y="30"/>
                    </a:lnTo>
                    <a:lnTo>
                      <a:pt x="359" y="24"/>
                    </a:lnTo>
                    <a:lnTo>
                      <a:pt x="361" y="20"/>
                    </a:lnTo>
                    <a:lnTo>
                      <a:pt x="356" y="17"/>
                    </a:lnTo>
                    <a:lnTo>
                      <a:pt x="354" y="12"/>
                    </a:lnTo>
                    <a:lnTo>
                      <a:pt x="361" y="10"/>
                    </a:lnTo>
                    <a:lnTo>
                      <a:pt x="364" y="5"/>
                    </a:lnTo>
                    <a:lnTo>
                      <a:pt x="366" y="0"/>
                    </a:lnTo>
                    <a:lnTo>
                      <a:pt x="369" y="0"/>
                    </a:lnTo>
                    <a:lnTo>
                      <a:pt x="371" y="0"/>
                    </a:lnTo>
                    <a:lnTo>
                      <a:pt x="375" y="0"/>
                    </a:lnTo>
                    <a:lnTo>
                      <a:pt x="378" y="3"/>
                    </a:lnTo>
                    <a:lnTo>
                      <a:pt x="381" y="5"/>
                    </a:lnTo>
                    <a:lnTo>
                      <a:pt x="385" y="3"/>
                    </a:lnTo>
                    <a:lnTo>
                      <a:pt x="388" y="5"/>
                    </a:lnTo>
                    <a:lnTo>
                      <a:pt x="390" y="8"/>
                    </a:lnTo>
                    <a:lnTo>
                      <a:pt x="393" y="12"/>
                    </a:lnTo>
                    <a:lnTo>
                      <a:pt x="395" y="17"/>
                    </a:lnTo>
                    <a:lnTo>
                      <a:pt x="395" y="20"/>
                    </a:lnTo>
                    <a:lnTo>
                      <a:pt x="403" y="19"/>
                    </a:lnTo>
                    <a:lnTo>
                      <a:pt x="407" y="22"/>
                    </a:lnTo>
                    <a:lnTo>
                      <a:pt x="410" y="25"/>
                    </a:lnTo>
                    <a:lnTo>
                      <a:pt x="410" y="29"/>
                    </a:lnTo>
                    <a:lnTo>
                      <a:pt x="412" y="32"/>
                    </a:lnTo>
                    <a:lnTo>
                      <a:pt x="419" y="36"/>
                    </a:lnTo>
                    <a:lnTo>
                      <a:pt x="422" y="36"/>
                    </a:lnTo>
                    <a:lnTo>
                      <a:pt x="426" y="34"/>
                    </a:lnTo>
                    <a:lnTo>
                      <a:pt x="431" y="29"/>
                    </a:lnTo>
                    <a:lnTo>
                      <a:pt x="434" y="29"/>
                    </a:lnTo>
                    <a:lnTo>
                      <a:pt x="436" y="25"/>
                    </a:lnTo>
                    <a:lnTo>
                      <a:pt x="436" y="22"/>
                    </a:lnTo>
                    <a:lnTo>
                      <a:pt x="441" y="20"/>
                    </a:lnTo>
                    <a:lnTo>
                      <a:pt x="446" y="20"/>
                    </a:lnTo>
                    <a:lnTo>
                      <a:pt x="448" y="24"/>
                    </a:lnTo>
                    <a:lnTo>
                      <a:pt x="446" y="27"/>
                    </a:lnTo>
                    <a:lnTo>
                      <a:pt x="453" y="27"/>
                    </a:lnTo>
                    <a:lnTo>
                      <a:pt x="456" y="25"/>
                    </a:lnTo>
                    <a:lnTo>
                      <a:pt x="460" y="24"/>
                    </a:lnTo>
                    <a:lnTo>
                      <a:pt x="463" y="27"/>
                    </a:lnTo>
                    <a:lnTo>
                      <a:pt x="470" y="34"/>
                    </a:lnTo>
                    <a:lnTo>
                      <a:pt x="473" y="32"/>
                    </a:lnTo>
                    <a:lnTo>
                      <a:pt x="477" y="32"/>
                    </a:lnTo>
                    <a:lnTo>
                      <a:pt x="480" y="32"/>
                    </a:lnTo>
                    <a:lnTo>
                      <a:pt x="483" y="30"/>
                    </a:lnTo>
                    <a:lnTo>
                      <a:pt x="487" y="27"/>
                    </a:lnTo>
                    <a:lnTo>
                      <a:pt x="490" y="27"/>
                    </a:lnTo>
                    <a:lnTo>
                      <a:pt x="490" y="30"/>
                    </a:lnTo>
                    <a:lnTo>
                      <a:pt x="490" y="36"/>
                    </a:lnTo>
                    <a:lnTo>
                      <a:pt x="495" y="37"/>
                    </a:lnTo>
                    <a:lnTo>
                      <a:pt x="500" y="37"/>
                    </a:lnTo>
                    <a:lnTo>
                      <a:pt x="504" y="39"/>
                    </a:lnTo>
                    <a:lnTo>
                      <a:pt x="507" y="41"/>
                    </a:lnTo>
                    <a:lnTo>
                      <a:pt x="507" y="44"/>
                    </a:lnTo>
                    <a:lnTo>
                      <a:pt x="511" y="47"/>
                    </a:lnTo>
                    <a:lnTo>
                      <a:pt x="511" y="58"/>
                    </a:lnTo>
                    <a:lnTo>
                      <a:pt x="509" y="61"/>
                    </a:lnTo>
                    <a:lnTo>
                      <a:pt x="509" y="66"/>
                    </a:lnTo>
                    <a:lnTo>
                      <a:pt x="505" y="68"/>
                    </a:lnTo>
                    <a:lnTo>
                      <a:pt x="502" y="73"/>
                    </a:lnTo>
                    <a:lnTo>
                      <a:pt x="500" y="76"/>
                    </a:lnTo>
                    <a:lnTo>
                      <a:pt x="500" y="81"/>
                    </a:lnTo>
                    <a:lnTo>
                      <a:pt x="495" y="86"/>
                    </a:lnTo>
                    <a:lnTo>
                      <a:pt x="495" y="90"/>
                    </a:lnTo>
                    <a:lnTo>
                      <a:pt x="500" y="88"/>
                    </a:lnTo>
                    <a:lnTo>
                      <a:pt x="504" y="92"/>
                    </a:lnTo>
                    <a:lnTo>
                      <a:pt x="509" y="88"/>
                    </a:lnTo>
                    <a:lnTo>
                      <a:pt x="519" y="86"/>
                    </a:lnTo>
                    <a:close/>
                  </a:path>
                </a:pathLst>
              </a:custGeom>
              <a:solidFill>
                <a:srgbClr val="AC5D5B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2" name="Line 27">
                <a:extLst>
                  <a:ext uri="{FF2B5EF4-FFF2-40B4-BE49-F238E27FC236}">
                    <a16:creationId xmlns:a16="http://schemas.microsoft.com/office/drawing/2014/main" id="{43B88216-8E99-408E-C4E3-4BF83766D7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70638" y="22923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3" name="Line 28">
                <a:extLst>
                  <a:ext uri="{FF2B5EF4-FFF2-40B4-BE49-F238E27FC236}">
                    <a16:creationId xmlns:a16="http://schemas.microsoft.com/office/drawing/2014/main" id="{EC20B08D-076F-00F5-7369-D94471E74B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5975" y="2014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4" name="Line 29">
                <a:extLst>
                  <a:ext uri="{FF2B5EF4-FFF2-40B4-BE49-F238E27FC236}">
                    <a16:creationId xmlns:a16="http://schemas.microsoft.com/office/drawing/2014/main" id="{606484A3-B509-2B44-59C7-4C7A5CE880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2800" y="20097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5" name="Freeform 30">
                <a:extLst>
                  <a:ext uri="{FF2B5EF4-FFF2-40B4-BE49-F238E27FC236}">
                    <a16:creationId xmlns:a16="http://schemas.microsoft.com/office/drawing/2014/main" id="{2323D943-5B85-869A-E675-486710BEC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4700" y="1766888"/>
                <a:ext cx="1436687" cy="757237"/>
              </a:xfrm>
              <a:custGeom>
                <a:avLst/>
                <a:gdLst>
                  <a:gd name="T0" fmla="*/ 386 w 905"/>
                  <a:gd name="T1" fmla="*/ 53 h 477"/>
                  <a:gd name="T2" fmla="*/ 434 w 905"/>
                  <a:gd name="T3" fmla="*/ 70 h 477"/>
                  <a:gd name="T4" fmla="*/ 476 w 905"/>
                  <a:gd name="T5" fmla="*/ 56 h 477"/>
                  <a:gd name="T6" fmla="*/ 522 w 905"/>
                  <a:gd name="T7" fmla="*/ 56 h 477"/>
                  <a:gd name="T8" fmla="*/ 567 w 905"/>
                  <a:gd name="T9" fmla="*/ 61 h 477"/>
                  <a:gd name="T10" fmla="*/ 609 w 905"/>
                  <a:gd name="T11" fmla="*/ 76 h 477"/>
                  <a:gd name="T12" fmla="*/ 648 w 905"/>
                  <a:gd name="T13" fmla="*/ 49 h 477"/>
                  <a:gd name="T14" fmla="*/ 694 w 905"/>
                  <a:gd name="T15" fmla="*/ 41 h 477"/>
                  <a:gd name="T16" fmla="*/ 740 w 905"/>
                  <a:gd name="T17" fmla="*/ 56 h 477"/>
                  <a:gd name="T18" fmla="*/ 772 w 905"/>
                  <a:gd name="T19" fmla="*/ 63 h 477"/>
                  <a:gd name="T20" fmla="*/ 794 w 905"/>
                  <a:gd name="T21" fmla="*/ 98 h 477"/>
                  <a:gd name="T22" fmla="*/ 781 w 905"/>
                  <a:gd name="T23" fmla="*/ 88 h 477"/>
                  <a:gd name="T24" fmla="*/ 764 w 905"/>
                  <a:gd name="T25" fmla="*/ 127 h 477"/>
                  <a:gd name="T26" fmla="*/ 777 w 905"/>
                  <a:gd name="T27" fmla="*/ 187 h 477"/>
                  <a:gd name="T28" fmla="*/ 788 w 905"/>
                  <a:gd name="T29" fmla="*/ 241 h 477"/>
                  <a:gd name="T30" fmla="*/ 805 w 905"/>
                  <a:gd name="T31" fmla="*/ 299 h 477"/>
                  <a:gd name="T32" fmla="*/ 846 w 905"/>
                  <a:gd name="T33" fmla="*/ 348 h 477"/>
                  <a:gd name="T34" fmla="*/ 891 w 905"/>
                  <a:gd name="T35" fmla="*/ 387 h 477"/>
                  <a:gd name="T36" fmla="*/ 902 w 905"/>
                  <a:gd name="T37" fmla="*/ 424 h 477"/>
                  <a:gd name="T38" fmla="*/ 869 w 905"/>
                  <a:gd name="T39" fmla="*/ 433 h 477"/>
                  <a:gd name="T40" fmla="*/ 849 w 905"/>
                  <a:gd name="T41" fmla="*/ 417 h 477"/>
                  <a:gd name="T42" fmla="*/ 832 w 905"/>
                  <a:gd name="T43" fmla="*/ 390 h 477"/>
                  <a:gd name="T44" fmla="*/ 817 w 905"/>
                  <a:gd name="T45" fmla="*/ 427 h 477"/>
                  <a:gd name="T46" fmla="*/ 796 w 905"/>
                  <a:gd name="T47" fmla="*/ 451 h 477"/>
                  <a:gd name="T48" fmla="*/ 764 w 905"/>
                  <a:gd name="T49" fmla="*/ 475 h 477"/>
                  <a:gd name="T50" fmla="*/ 720 w 905"/>
                  <a:gd name="T51" fmla="*/ 470 h 477"/>
                  <a:gd name="T52" fmla="*/ 675 w 905"/>
                  <a:gd name="T53" fmla="*/ 455 h 477"/>
                  <a:gd name="T54" fmla="*/ 641 w 905"/>
                  <a:gd name="T55" fmla="*/ 417 h 477"/>
                  <a:gd name="T56" fmla="*/ 631 w 905"/>
                  <a:gd name="T57" fmla="*/ 382 h 477"/>
                  <a:gd name="T58" fmla="*/ 636 w 905"/>
                  <a:gd name="T59" fmla="*/ 346 h 477"/>
                  <a:gd name="T60" fmla="*/ 614 w 905"/>
                  <a:gd name="T61" fmla="*/ 336 h 477"/>
                  <a:gd name="T62" fmla="*/ 572 w 905"/>
                  <a:gd name="T63" fmla="*/ 317 h 477"/>
                  <a:gd name="T64" fmla="*/ 536 w 905"/>
                  <a:gd name="T65" fmla="*/ 331 h 477"/>
                  <a:gd name="T66" fmla="*/ 526 w 905"/>
                  <a:gd name="T67" fmla="*/ 356 h 477"/>
                  <a:gd name="T68" fmla="*/ 478 w 905"/>
                  <a:gd name="T69" fmla="*/ 361 h 477"/>
                  <a:gd name="T70" fmla="*/ 439 w 905"/>
                  <a:gd name="T71" fmla="*/ 370 h 477"/>
                  <a:gd name="T72" fmla="*/ 400 w 905"/>
                  <a:gd name="T73" fmla="*/ 348 h 477"/>
                  <a:gd name="T74" fmla="*/ 362 w 905"/>
                  <a:gd name="T75" fmla="*/ 351 h 477"/>
                  <a:gd name="T76" fmla="*/ 323 w 905"/>
                  <a:gd name="T77" fmla="*/ 317 h 477"/>
                  <a:gd name="T78" fmla="*/ 274 w 905"/>
                  <a:gd name="T79" fmla="*/ 299 h 477"/>
                  <a:gd name="T80" fmla="*/ 231 w 905"/>
                  <a:gd name="T81" fmla="*/ 275 h 477"/>
                  <a:gd name="T82" fmla="*/ 202 w 905"/>
                  <a:gd name="T83" fmla="*/ 243 h 477"/>
                  <a:gd name="T84" fmla="*/ 157 w 905"/>
                  <a:gd name="T85" fmla="*/ 238 h 477"/>
                  <a:gd name="T86" fmla="*/ 117 w 905"/>
                  <a:gd name="T87" fmla="*/ 260 h 477"/>
                  <a:gd name="T88" fmla="*/ 71 w 905"/>
                  <a:gd name="T89" fmla="*/ 255 h 477"/>
                  <a:gd name="T90" fmla="*/ 77 w 905"/>
                  <a:gd name="T91" fmla="*/ 214 h 477"/>
                  <a:gd name="T92" fmla="*/ 46 w 905"/>
                  <a:gd name="T93" fmla="*/ 195 h 477"/>
                  <a:gd name="T94" fmla="*/ 7 w 905"/>
                  <a:gd name="T95" fmla="*/ 183 h 477"/>
                  <a:gd name="T96" fmla="*/ 12 w 905"/>
                  <a:gd name="T97" fmla="*/ 154 h 477"/>
                  <a:gd name="T98" fmla="*/ 22 w 905"/>
                  <a:gd name="T99" fmla="*/ 129 h 477"/>
                  <a:gd name="T100" fmla="*/ 24 w 905"/>
                  <a:gd name="T101" fmla="*/ 88 h 477"/>
                  <a:gd name="T102" fmla="*/ 37 w 905"/>
                  <a:gd name="T103" fmla="*/ 48 h 477"/>
                  <a:gd name="T104" fmla="*/ 66 w 905"/>
                  <a:gd name="T105" fmla="*/ 15 h 477"/>
                  <a:gd name="T106" fmla="*/ 92 w 905"/>
                  <a:gd name="T107" fmla="*/ 9 h 477"/>
                  <a:gd name="T108" fmla="*/ 111 w 905"/>
                  <a:gd name="T109" fmla="*/ 20 h 477"/>
                  <a:gd name="T110" fmla="*/ 143 w 905"/>
                  <a:gd name="T111" fmla="*/ 14 h 477"/>
                  <a:gd name="T112" fmla="*/ 168 w 905"/>
                  <a:gd name="T113" fmla="*/ 19 h 477"/>
                  <a:gd name="T114" fmla="*/ 179 w 905"/>
                  <a:gd name="T115" fmla="*/ 10 h 477"/>
                  <a:gd name="T116" fmla="*/ 206 w 905"/>
                  <a:gd name="T117" fmla="*/ 22 h 477"/>
                  <a:gd name="T118" fmla="*/ 238 w 905"/>
                  <a:gd name="T119" fmla="*/ 32 h 477"/>
                  <a:gd name="T120" fmla="*/ 281 w 905"/>
                  <a:gd name="T121" fmla="*/ 53 h 477"/>
                  <a:gd name="T122" fmla="*/ 313 w 905"/>
                  <a:gd name="T123" fmla="*/ 66 h 477"/>
                  <a:gd name="T124" fmla="*/ 357 w 905"/>
                  <a:gd name="T125" fmla="*/ 71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5" h="477">
                    <a:moveTo>
                      <a:pt x="364" y="59"/>
                    </a:moveTo>
                    <a:lnTo>
                      <a:pt x="366" y="56"/>
                    </a:lnTo>
                    <a:lnTo>
                      <a:pt x="369" y="53"/>
                    </a:lnTo>
                    <a:lnTo>
                      <a:pt x="373" y="49"/>
                    </a:lnTo>
                    <a:lnTo>
                      <a:pt x="374" y="53"/>
                    </a:lnTo>
                    <a:lnTo>
                      <a:pt x="373" y="58"/>
                    </a:lnTo>
                    <a:lnTo>
                      <a:pt x="378" y="54"/>
                    </a:lnTo>
                    <a:lnTo>
                      <a:pt x="378" y="51"/>
                    </a:lnTo>
                    <a:lnTo>
                      <a:pt x="381" y="48"/>
                    </a:lnTo>
                    <a:lnTo>
                      <a:pt x="385" y="49"/>
                    </a:lnTo>
                    <a:lnTo>
                      <a:pt x="386" y="53"/>
                    </a:lnTo>
                    <a:lnTo>
                      <a:pt x="386" y="58"/>
                    </a:lnTo>
                    <a:lnTo>
                      <a:pt x="386" y="61"/>
                    </a:lnTo>
                    <a:lnTo>
                      <a:pt x="391" y="63"/>
                    </a:lnTo>
                    <a:lnTo>
                      <a:pt x="396" y="65"/>
                    </a:lnTo>
                    <a:lnTo>
                      <a:pt x="403" y="66"/>
                    </a:lnTo>
                    <a:lnTo>
                      <a:pt x="410" y="68"/>
                    </a:lnTo>
                    <a:lnTo>
                      <a:pt x="415" y="68"/>
                    </a:lnTo>
                    <a:lnTo>
                      <a:pt x="420" y="71"/>
                    </a:lnTo>
                    <a:lnTo>
                      <a:pt x="424" y="71"/>
                    </a:lnTo>
                    <a:lnTo>
                      <a:pt x="429" y="70"/>
                    </a:lnTo>
                    <a:lnTo>
                      <a:pt x="434" y="70"/>
                    </a:lnTo>
                    <a:lnTo>
                      <a:pt x="437" y="68"/>
                    </a:lnTo>
                    <a:lnTo>
                      <a:pt x="441" y="66"/>
                    </a:lnTo>
                    <a:lnTo>
                      <a:pt x="444" y="63"/>
                    </a:lnTo>
                    <a:lnTo>
                      <a:pt x="447" y="59"/>
                    </a:lnTo>
                    <a:lnTo>
                      <a:pt x="454" y="59"/>
                    </a:lnTo>
                    <a:lnTo>
                      <a:pt x="458" y="59"/>
                    </a:lnTo>
                    <a:lnTo>
                      <a:pt x="461" y="59"/>
                    </a:lnTo>
                    <a:lnTo>
                      <a:pt x="464" y="61"/>
                    </a:lnTo>
                    <a:lnTo>
                      <a:pt x="468" y="56"/>
                    </a:lnTo>
                    <a:lnTo>
                      <a:pt x="473" y="56"/>
                    </a:lnTo>
                    <a:lnTo>
                      <a:pt x="476" y="56"/>
                    </a:lnTo>
                    <a:lnTo>
                      <a:pt x="480" y="58"/>
                    </a:lnTo>
                    <a:lnTo>
                      <a:pt x="487" y="65"/>
                    </a:lnTo>
                    <a:lnTo>
                      <a:pt x="490" y="65"/>
                    </a:lnTo>
                    <a:lnTo>
                      <a:pt x="493" y="63"/>
                    </a:lnTo>
                    <a:lnTo>
                      <a:pt x="502" y="63"/>
                    </a:lnTo>
                    <a:lnTo>
                      <a:pt x="505" y="61"/>
                    </a:lnTo>
                    <a:lnTo>
                      <a:pt x="509" y="61"/>
                    </a:lnTo>
                    <a:lnTo>
                      <a:pt x="512" y="58"/>
                    </a:lnTo>
                    <a:lnTo>
                      <a:pt x="516" y="59"/>
                    </a:lnTo>
                    <a:lnTo>
                      <a:pt x="519" y="61"/>
                    </a:lnTo>
                    <a:lnTo>
                      <a:pt x="522" y="56"/>
                    </a:lnTo>
                    <a:lnTo>
                      <a:pt x="526" y="54"/>
                    </a:lnTo>
                    <a:lnTo>
                      <a:pt x="531" y="54"/>
                    </a:lnTo>
                    <a:lnTo>
                      <a:pt x="534" y="56"/>
                    </a:lnTo>
                    <a:lnTo>
                      <a:pt x="539" y="58"/>
                    </a:lnTo>
                    <a:lnTo>
                      <a:pt x="544" y="54"/>
                    </a:lnTo>
                    <a:lnTo>
                      <a:pt x="550" y="56"/>
                    </a:lnTo>
                    <a:lnTo>
                      <a:pt x="556" y="56"/>
                    </a:lnTo>
                    <a:lnTo>
                      <a:pt x="556" y="61"/>
                    </a:lnTo>
                    <a:lnTo>
                      <a:pt x="556" y="65"/>
                    </a:lnTo>
                    <a:lnTo>
                      <a:pt x="563" y="63"/>
                    </a:lnTo>
                    <a:lnTo>
                      <a:pt x="567" y="61"/>
                    </a:lnTo>
                    <a:lnTo>
                      <a:pt x="572" y="61"/>
                    </a:lnTo>
                    <a:lnTo>
                      <a:pt x="577" y="61"/>
                    </a:lnTo>
                    <a:lnTo>
                      <a:pt x="580" y="61"/>
                    </a:lnTo>
                    <a:lnTo>
                      <a:pt x="584" y="61"/>
                    </a:lnTo>
                    <a:lnTo>
                      <a:pt x="587" y="63"/>
                    </a:lnTo>
                    <a:lnTo>
                      <a:pt x="590" y="66"/>
                    </a:lnTo>
                    <a:lnTo>
                      <a:pt x="595" y="68"/>
                    </a:lnTo>
                    <a:lnTo>
                      <a:pt x="597" y="71"/>
                    </a:lnTo>
                    <a:lnTo>
                      <a:pt x="599" y="75"/>
                    </a:lnTo>
                    <a:lnTo>
                      <a:pt x="606" y="78"/>
                    </a:lnTo>
                    <a:lnTo>
                      <a:pt x="609" y="76"/>
                    </a:lnTo>
                    <a:lnTo>
                      <a:pt x="614" y="71"/>
                    </a:lnTo>
                    <a:lnTo>
                      <a:pt x="618" y="70"/>
                    </a:lnTo>
                    <a:lnTo>
                      <a:pt x="623" y="68"/>
                    </a:lnTo>
                    <a:lnTo>
                      <a:pt x="628" y="65"/>
                    </a:lnTo>
                    <a:lnTo>
                      <a:pt x="631" y="63"/>
                    </a:lnTo>
                    <a:lnTo>
                      <a:pt x="635" y="63"/>
                    </a:lnTo>
                    <a:lnTo>
                      <a:pt x="636" y="58"/>
                    </a:lnTo>
                    <a:lnTo>
                      <a:pt x="636" y="54"/>
                    </a:lnTo>
                    <a:lnTo>
                      <a:pt x="640" y="51"/>
                    </a:lnTo>
                    <a:lnTo>
                      <a:pt x="643" y="51"/>
                    </a:lnTo>
                    <a:lnTo>
                      <a:pt x="648" y="49"/>
                    </a:lnTo>
                    <a:lnTo>
                      <a:pt x="650" y="46"/>
                    </a:lnTo>
                    <a:lnTo>
                      <a:pt x="653" y="44"/>
                    </a:lnTo>
                    <a:lnTo>
                      <a:pt x="658" y="46"/>
                    </a:lnTo>
                    <a:lnTo>
                      <a:pt x="662" y="46"/>
                    </a:lnTo>
                    <a:lnTo>
                      <a:pt x="669" y="44"/>
                    </a:lnTo>
                    <a:lnTo>
                      <a:pt x="672" y="44"/>
                    </a:lnTo>
                    <a:lnTo>
                      <a:pt x="677" y="44"/>
                    </a:lnTo>
                    <a:lnTo>
                      <a:pt x="681" y="44"/>
                    </a:lnTo>
                    <a:lnTo>
                      <a:pt x="686" y="44"/>
                    </a:lnTo>
                    <a:lnTo>
                      <a:pt x="689" y="41"/>
                    </a:lnTo>
                    <a:lnTo>
                      <a:pt x="694" y="41"/>
                    </a:lnTo>
                    <a:lnTo>
                      <a:pt x="699" y="41"/>
                    </a:lnTo>
                    <a:lnTo>
                      <a:pt x="704" y="43"/>
                    </a:lnTo>
                    <a:lnTo>
                      <a:pt x="711" y="43"/>
                    </a:lnTo>
                    <a:lnTo>
                      <a:pt x="715" y="44"/>
                    </a:lnTo>
                    <a:lnTo>
                      <a:pt x="720" y="44"/>
                    </a:lnTo>
                    <a:lnTo>
                      <a:pt x="723" y="44"/>
                    </a:lnTo>
                    <a:lnTo>
                      <a:pt x="728" y="48"/>
                    </a:lnTo>
                    <a:lnTo>
                      <a:pt x="730" y="51"/>
                    </a:lnTo>
                    <a:lnTo>
                      <a:pt x="733" y="56"/>
                    </a:lnTo>
                    <a:lnTo>
                      <a:pt x="737" y="59"/>
                    </a:lnTo>
                    <a:lnTo>
                      <a:pt x="740" y="56"/>
                    </a:lnTo>
                    <a:lnTo>
                      <a:pt x="743" y="54"/>
                    </a:lnTo>
                    <a:lnTo>
                      <a:pt x="747" y="58"/>
                    </a:lnTo>
                    <a:lnTo>
                      <a:pt x="750" y="59"/>
                    </a:lnTo>
                    <a:lnTo>
                      <a:pt x="754" y="58"/>
                    </a:lnTo>
                    <a:lnTo>
                      <a:pt x="757" y="59"/>
                    </a:lnTo>
                    <a:lnTo>
                      <a:pt x="760" y="56"/>
                    </a:lnTo>
                    <a:lnTo>
                      <a:pt x="766" y="53"/>
                    </a:lnTo>
                    <a:lnTo>
                      <a:pt x="769" y="53"/>
                    </a:lnTo>
                    <a:lnTo>
                      <a:pt x="774" y="56"/>
                    </a:lnTo>
                    <a:lnTo>
                      <a:pt x="774" y="59"/>
                    </a:lnTo>
                    <a:lnTo>
                      <a:pt x="772" y="63"/>
                    </a:lnTo>
                    <a:lnTo>
                      <a:pt x="772" y="68"/>
                    </a:lnTo>
                    <a:lnTo>
                      <a:pt x="772" y="71"/>
                    </a:lnTo>
                    <a:lnTo>
                      <a:pt x="774" y="75"/>
                    </a:lnTo>
                    <a:lnTo>
                      <a:pt x="774" y="78"/>
                    </a:lnTo>
                    <a:lnTo>
                      <a:pt x="777" y="82"/>
                    </a:lnTo>
                    <a:lnTo>
                      <a:pt x="783" y="83"/>
                    </a:lnTo>
                    <a:lnTo>
                      <a:pt x="786" y="83"/>
                    </a:lnTo>
                    <a:lnTo>
                      <a:pt x="788" y="87"/>
                    </a:lnTo>
                    <a:lnTo>
                      <a:pt x="789" y="92"/>
                    </a:lnTo>
                    <a:lnTo>
                      <a:pt x="791" y="95"/>
                    </a:lnTo>
                    <a:lnTo>
                      <a:pt x="794" y="98"/>
                    </a:lnTo>
                    <a:lnTo>
                      <a:pt x="801" y="102"/>
                    </a:lnTo>
                    <a:lnTo>
                      <a:pt x="801" y="107"/>
                    </a:lnTo>
                    <a:lnTo>
                      <a:pt x="798" y="107"/>
                    </a:lnTo>
                    <a:lnTo>
                      <a:pt x="793" y="105"/>
                    </a:lnTo>
                    <a:lnTo>
                      <a:pt x="788" y="104"/>
                    </a:lnTo>
                    <a:lnTo>
                      <a:pt x="784" y="104"/>
                    </a:lnTo>
                    <a:lnTo>
                      <a:pt x="781" y="102"/>
                    </a:lnTo>
                    <a:lnTo>
                      <a:pt x="784" y="102"/>
                    </a:lnTo>
                    <a:lnTo>
                      <a:pt x="784" y="98"/>
                    </a:lnTo>
                    <a:lnTo>
                      <a:pt x="788" y="93"/>
                    </a:lnTo>
                    <a:lnTo>
                      <a:pt x="781" y="88"/>
                    </a:lnTo>
                    <a:lnTo>
                      <a:pt x="774" y="88"/>
                    </a:lnTo>
                    <a:lnTo>
                      <a:pt x="769" y="95"/>
                    </a:lnTo>
                    <a:lnTo>
                      <a:pt x="769" y="98"/>
                    </a:lnTo>
                    <a:lnTo>
                      <a:pt x="772" y="95"/>
                    </a:lnTo>
                    <a:lnTo>
                      <a:pt x="774" y="98"/>
                    </a:lnTo>
                    <a:lnTo>
                      <a:pt x="771" y="102"/>
                    </a:lnTo>
                    <a:lnTo>
                      <a:pt x="769" y="107"/>
                    </a:lnTo>
                    <a:lnTo>
                      <a:pt x="766" y="115"/>
                    </a:lnTo>
                    <a:lnTo>
                      <a:pt x="766" y="119"/>
                    </a:lnTo>
                    <a:lnTo>
                      <a:pt x="766" y="124"/>
                    </a:lnTo>
                    <a:lnTo>
                      <a:pt x="764" y="127"/>
                    </a:lnTo>
                    <a:lnTo>
                      <a:pt x="764" y="136"/>
                    </a:lnTo>
                    <a:lnTo>
                      <a:pt x="764" y="141"/>
                    </a:lnTo>
                    <a:lnTo>
                      <a:pt x="766" y="146"/>
                    </a:lnTo>
                    <a:lnTo>
                      <a:pt x="767" y="149"/>
                    </a:lnTo>
                    <a:lnTo>
                      <a:pt x="769" y="154"/>
                    </a:lnTo>
                    <a:lnTo>
                      <a:pt x="771" y="160"/>
                    </a:lnTo>
                    <a:lnTo>
                      <a:pt x="774" y="165"/>
                    </a:lnTo>
                    <a:lnTo>
                      <a:pt x="776" y="170"/>
                    </a:lnTo>
                    <a:lnTo>
                      <a:pt x="777" y="175"/>
                    </a:lnTo>
                    <a:lnTo>
                      <a:pt x="777" y="183"/>
                    </a:lnTo>
                    <a:lnTo>
                      <a:pt x="777" y="187"/>
                    </a:lnTo>
                    <a:lnTo>
                      <a:pt x="777" y="190"/>
                    </a:lnTo>
                    <a:lnTo>
                      <a:pt x="777" y="197"/>
                    </a:lnTo>
                    <a:lnTo>
                      <a:pt x="777" y="200"/>
                    </a:lnTo>
                    <a:lnTo>
                      <a:pt x="777" y="204"/>
                    </a:lnTo>
                    <a:lnTo>
                      <a:pt x="779" y="209"/>
                    </a:lnTo>
                    <a:lnTo>
                      <a:pt x="779" y="212"/>
                    </a:lnTo>
                    <a:lnTo>
                      <a:pt x="779" y="217"/>
                    </a:lnTo>
                    <a:lnTo>
                      <a:pt x="781" y="221"/>
                    </a:lnTo>
                    <a:lnTo>
                      <a:pt x="784" y="234"/>
                    </a:lnTo>
                    <a:lnTo>
                      <a:pt x="788" y="238"/>
                    </a:lnTo>
                    <a:lnTo>
                      <a:pt x="788" y="241"/>
                    </a:lnTo>
                    <a:lnTo>
                      <a:pt x="791" y="256"/>
                    </a:lnTo>
                    <a:lnTo>
                      <a:pt x="791" y="260"/>
                    </a:lnTo>
                    <a:lnTo>
                      <a:pt x="793" y="265"/>
                    </a:lnTo>
                    <a:lnTo>
                      <a:pt x="794" y="268"/>
                    </a:lnTo>
                    <a:lnTo>
                      <a:pt x="796" y="273"/>
                    </a:lnTo>
                    <a:lnTo>
                      <a:pt x="798" y="277"/>
                    </a:lnTo>
                    <a:lnTo>
                      <a:pt x="798" y="282"/>
                    </a:lnTo>
                    <a:lnTo>
                      <a:pt x="800" y="285"/>
                    </a:lnTo>
                    <a:lnTo>
                      <a:pt x="801" y="292"/>
                    </a:lnTo>
                    <a:lnTo>
                      <a:pt x="803" y="295"/>
                    </a:lnTo>
                    <a:lnTo>
                      <a:pt x="805" y="299"/>
                    </a:lnTo>
                    <a:lnTo>
                      <a:pt x="808" y="304"/>
                    </a:lnTo>
                    <a:lnTo>
                      <a:pt x="810" y="307"/>
                    </a:lnTo>
                    <a:lnTo>
                      <a:pt x="815" y="312"/>
                    </a:lnTo>
                    <a:lnTo>
                      <a:pt x="817" y="316"/>
                    </a:lnTo>
                    <a:lnTo>
                      <a:pt x="820" y="319"/>
                    </a:lnTo>
                    <a:lnTo>
                      <a:pt x="823" y="322"/>
                    </a:lnTo>
                    <a:lnTo>
                      <a:pt x="827" y="326"/>
                    </a:lnTo>
                    <a:lnTo>
                      <a:pt x="834" y="334"/>
                    </a:lnTo>
                    <a:lnTo>
                      <a:pt x="837" y="338"/>
                    </a:lnTo>
                    <a:lnTo>
                      <a:pt x="842" y="344"/>
                    </a:lnTo>
                    <a:lnTo>
                      <a:pt x="846" y="348"/>
                    </a:lnTo>
                    <a:lnTo>
                      <a:pt x="851" y="351"/>
                    </a:lnTo>
                    <a:lnTo>
                      <a:pt x="856" y="355"/>
                    </a:lnTo>
                    <a:lnTo>
                      <a:pt x="859" y="353"/>
                    </a:lnTo>
                    <a:lnTo>
                      <a:pt x="863" y="358"/>
                    </a:lnTo>
                    <a:lnTo>
                      <a:pt x="866" y="363"/>
                    </a:lnTo>
                    <a:lnTo>
                      <a:pt x="869" y="366"/>
                    </a:lnTo>
                    <a:lnTo>
                      <a:pt x="873" y="372"/>
                    </a:lnTo>
                    <a:lnTo>
                      <a:pt x="880" y="377"/>
                    </a:lnTo>
                    <a:lnTo>
                      <a:pt x="885" y="380"/>
                    </a:lnTo>
                    <a:lnTo>
                      <a:pt x="888" y="383"/>
                    </a:lnTo>
                    <a:lnTo>
                      <a:pt x="891" y="387"/>
                    </a:lnTo>
                    <a:lnTo>
                      <a:pt x="897" y="388"/>
                    </a:lnTo>
                    <a:lnTo>
                      <a:pt x="902" y="390"/>
                    </a:lnTo>
                    <a:lnTo>
                      <a:pt x="905" y="390"/>
                    </a:lnTo>
                    <a:lnTo>
                      <a:pt x="905" y="394"/>
                    </a:lnTo>
                    <a:lnTo>
                      <a:pt x="903" y="400"/>
                    </a:lnTo>
                    <a:lnTo>
                      <a:pt x="900" y="404"/>
                    </a:lnTo>
                    <a:lnTo>
                      <a:pt x="900" y="407"/>
                    </a:lnTo>
                    <a:lnTo>
                      <a:pt x="900" y="411"/>
                    </a:lnTo>
                    <a:lnTo>
                      <a:pt x="902" y="416"/>
                    </a:lnTo>
                    <a:lnTo>
                      <a:pt x="900" y="421"/>
                    </a:lnTo>
                    <a:lnTo>
                      <a:pt x="902" y="424"/>
                    </a:lnTo>
                    <a:lnTo>
                      <a:pt x="900" y="427"/>
                    </a:lnTo>
                    <a:lnTo>
                      <a:pt x="895" y="429"/>
                    </a:lnTo>
                    <a:lnTo>
                      <a:pt x="890" y="431"/>
                    </a:lnTo>
                    <a:lnTo>
                      <a:pt x="888" y="436"/>
                    </a:lnTo>
                    <a:lnTo>
                      <a:pt x="890" y="439"/>
                    </a:lnTo>
                    <a:lnTo>
                      <a:pt x="886" y="441"/>
                    </a:lnTo>
                    <a:lnTo>
                      <a:pt x="881" y="441"/>
                    </a:lnTo>
                    <a:lnTo>
                      <a:pt x="876" y="443"/>
                    </a:lnTo>
                    <a:lnTo>
                      <a:pt x="871" y="439"/>
                    </a:lnTo>
                    <a:lnTo>
                      <a:pt x="873" y="436"/>
                    </a:lnTo>
                    <a:lnTo>
                      <a:pt x="869" y="433"/>
                    </a:lnTo>
                    <a:lnTo>
                      <a:pt x="869" y="427"/>
                    </a:lnTo>
                    <a:lnTo>
                      <a:pt x="866" y="427"/>
                    </a:lnTo>
                    <a:lnTo>
                      <a:pt x="866" y="424"/>
                    </a:lnTo>
                    <a:lnTo>
                      <a:pt x="863" y="421"/>
                    </a:lnTo>
                    <a:lnTo>
                      <a:pt x="859" y="422"/>
                    </a:lnTo>
                    <a:lnTo>
                      <a:pt x="859" y="426"/>
                    </a:lnTo>
                    <a:lnTo>
                      <a:pt x="856" y="427"/>
                    </a:lnTo>
                    <a:lnTo>
                      <a:pt x="851" y="427"/>
                    </a:lnTo>
                    <a:lnTo>
                      <a:pt x="849" y="424"/>
                    </a:lnTo>
                    <a:lnTo>
                      <a:pt x="852" y="421"/>
                    </a:lnTo>
                    <a:lnTo>
                      <a:pt x="849" y="417"/>
                    </a:lnTo>
                    <a:lnTo>
                      <a:pt x="846" y="416"/>
                    </a:lnTo>
                    <a:lnTo>
                      <a:pt x="840" y="411"/>
                    </a:lnTo>
                    <a:lnTo>
                      <a:pt x="842" y="407"/>
                    </a:lnTo>
                    <a:lnTo>
                      <a:pt x="844" y="404"/>
                    </a:lnTo>
                    <a:lnTo>
                      <a:pt x="846" y="400"/>
                    </a:lnTo>
                    <a:lnTo>
                      <a:pt x="844" y="394"/>
                    </a:lnTo>
                    <a:lnTo>
                      <a:pt x="844" y="390"/>
                    </a:lnTo>
                    <a:lnTo>
                      <a:pt x="844" y="385"/>
                    </a:lnTo>
                    <a:lnTo>
                      <a:pt x="839" y="387"/>
                    </a:lnTo>
                    <a:lnTo>
                      <a:pt x="835" y="388"/>
                    </a:lnTo>
                    <a:lnTo>
                      <a:pt x="832" y="390"/>
                    </a:lnTo>
                    <a:lnTo>
                      <a:pt x="825" y="397"/>
                    </a:lnTo>
                    <a:lnTo>
                      <a:pt x="820" y="399"/>
                    </a:lnTo>
                    <a:lnTo>
                      <a:pt x="817" y="402"/>
                    </a:lnTo>
                    <a:lnTo>
                      <a:pt x="820" y="405"/>
                    </a:lnTo>
                    <a:lnTo>
                      <a:pt x="818" y="411"/>
                    </a:lnTo>
                    <a:lnTo>
                      <a:pt x="820" y="414"/>
                    </a:lnTo>
                    <a:lnTo>
                      <a:pt x="822" y="417"/>
                    </a:lnTo>
                    <a:lnTo>
                      <a:pt x="822" y="422"/>
                    </a:lnTo>
                    <a:lnTo>
                      <a:pt x="825" y="426"/>
                    </a:lnTo>
                    <a:lnTo>
                      <a:pt x="822" y="427"/>
                    </a:lnTo>
                    <a:lnTo>
                      <a:pt x="817" y="427"/>
                    </a:lnTo>
                    <a:lnTo>
                      <a:pt x="815" y="424"/>
                    </a:lnTo>
                    <a:lnTo>
                      <a:pt x="815" y="419"/>
                    </a:lnTo>
                    <a:lnTo>
                      <a:pt x="813" y="422"/>
                    </a:lnTo>
                    <a:lnTo>
                      <a:pt x="810" y="426"/>
                    </a:lnTo>
                    <a:lnTo>
                      <a:pt x="806" y="427"/>
                    </a:lnTo>
                    <a:lnTo>
                      <a:pt x="803" y="431"/>
                    </a:lnTo>
                    <a:lnTo>
                      <a:pt x="803" y="434"/>
                    </a:lnTo>
                    <a:lnTo>
                      <a:pt x="803" y="438"/>
                    </a:lnTo>
                    <a:lnTo>
                      <a:pt x="801" y="443"/>
                    </a:lnTo>
                    <a:lnTo>
                      <a:pt x="798" y="448"/>
                    </a:lnTo>
                    <a:lnTo>
                      <a:pt x="796" y="451"/>
                    </a:lnTo>
                    <a:lnTo>
                      <a:pt x="791" y="455"/>
                    </a:lnTo>
                    <a:lnTo>
                      <a:pt x="788" y="456"/>
                    </a:lnTo>
                    <a:lnTo>
                      <a:pt x="789" y="463"/>
                    </a:lnTo>
                    <a:lnTo>
                      <a:pt x="788" y="467"/>
                    </a:lnTo>
                    <a:lnTo>
                      <a:pt x="781" y="468"/>
                    </a:lnTo>
                    <a:lnTo>
                      <a:pt x="779" y="472"/>
                    </a:lnTo>
                    <a:lnTo>
                      <a:pt x="776" y="468"/>
                    </a:lnTo>
                    <a:lnTo>
                      <a:pt x="771" y="470"/>
                    </a:lnTo>
                    <a:lnTo>
                      <a:pt x="769" y="473"/>
                    </a:lnTo>
                    <a:lnTo>
                      <a:pt x="767" y="477"/>
                    </a:lnTo>
                    <a:lnTo>
                      <a:pt x="764" y="475"/>
                    </a:lnTo>
                    <a:lnTo>
                      <a:pt x="760" y="472"/>
                    </a:lnTo>
                    <a:lnTo>
                      <a:pt x="759" y="468"/>
                    </a:lnTo>
                    <a:lnTo>
                      <a:pt x="754" y="472"/>
                    </a:lnTo>
                    <a:lnTo>
                      <a:pt x="749" y="473"/>
                    </a:lnTo>
                    <a:lnTo>
                      <a:pt x="745" y="472"/>
                    </a:lnTo>
                    <a:lnTo>
                      <a:pt x="738" y="475"/>
                    </a:lnTo>
                    <a:lnTo>
                      <a:pt x="735" y="477"/>
                    </a:lnTo>
                    <a:lnTo>
                      <a:pt x="732" y="473"/>
                    </a:lnTo>
                    <a:lnTo>
                      <a:pt x="728" y="472"/>
                    </a:lnTo>
                    <a:lnTo>
                      <a:pt x="723" y="470"/>
                    </a:lnTo>
                    <a:lnTo>
                      <a:pt x="720" y="470"/>
                    </a:lnTo>
                    <a:lnTo>
                      <a:pt x="715" y="470"/>
                    </a:lnTo>
                    <a:lnTo>
                      <a:pt x="711" y="468"/>
                    </a:lnTo>
                    <a:lnTo>
                      <a:pt x="704" y="465"/>
                    </a:lnTo>
                    <a:lnTo>
                      <a:pt x="703" y="461"/>
                    </a:lnTo>
                    <a:lnTo>
                      <a:pt x="699" y="460"/>
                    </a:lnTo>
                    <a:lnTo>
                      <a:pt x="694" y="458"/>
                    </a:lnTo>
                    <a:lnTo>
                      <a:pt x="694" y="455"/>
                    </a:lnTo>
                    <a:lnTo>
                      <a:pt x="689" y="455"/>
                    </a:lnTo>
                    <a:lnTo>
                      <a:pt x="684" y="455"/>
                    </a:lnTo>
                    <a:lnTo>
                      <a:pt x="679" y="453"/>
                    </a:lnTo>
                    <a:lnTo>
                      <a:pt x="675" y="455"/>
                    </a:lnTo>
                    <a:lnTo>
                      <a:pt x="670" y="453"/>
                    </a:lnTo>
                    <a:lnTo>
                      <a:pt x="665" y="448"/>
                    </a:lnTo>
                    <a:lnTo>
                      <a:pt x="662" y="444"/>
                    </a:lnTo>
                    <a:lnTo>
                      <a:pt x="658" y="441"/>
                    </a:lnTo>
                    <a:lnTo>
                      <a:pt x="653" y="439"/>
                    </a:lnTo>
                    <a:lnTo>
                      <a:pt x="650" y="438"/>
                    </a:lnTo>
                    <a:lnTo>
                      <a:pt x="646" y="436"/>
                    </a:lnTo>
                    <a:lnTo>
                      <a:pt x="643" y="433"/>
                    </a:lnTo>
                    <a:lnTo>
                      <a:pt x="641" y="427"/>
                    </a:lnTo>
                    <a:lnTo>
                      <a:pt x="641" y="424"/>
                    </a:lnTo>
                    <a:lnTo>
                      <a:pt x="641" y="417"/>
                    </a:lnTo>
                    <a:lnTo>
                      <a:pt x="638" y="414"/>
                    </a:lnTo>
                    <a:lnTo>
                      <a:pt x="633" y="412"/>
                    </a:lnTo>
                    <a:lnTo>
                      <a:pt x="635" y="407"/>
                    </a:lnTo>
                    <a:lnTo>
                      <a:pt x="635" y="404"/>
                    </a:lnTo>
                    <a:lnTo>
                      <a:pt x="629" y="400"/>
                    </a:lnTo>
                    <a:lnTo>
                      <a:pt x="626" y="399"/>
                    </a:lnTo>
                    <a:lnTo>
                      <a:pt x="623" y="394"/>
                    </a:lnTo>
                    <a:lnTo>
                      <a:pt x="624" y="390"/>
                    </a:lnTo>
                    <a:lnTo>
                      <a:pt x="628" y="385"/>
                    </a:lnTo>
                    <a:lnTo>
                      <a:pt x="628" y="382"/>
                    </a:lnTo>
                    <a:lnTo>
                      <a:pt x="631" y="382"/>
                    </a:lnTo>
                    <a:lnTo>
                      <a:pt x="633" y="378"/>
                    </a:lnTo>
                    <a:lnTo>
                      <a:pt x="635" y="373"/>
                    </a:lnTo>
                    <a:lnTo>
                      <a:pt x="636" y="370"/>
                    </a:lnTo>
                    <a:lnTo>
                      <a:pt x="638" y="366"/>
                    </a:lnTo>
                    <a:lnTo>
                      <a:pt x="645" y="360"/>
                    </a:lnTo>
                    <a:lnTo>
                      <a:pt x="645" y="355"/>
                    </a:lnTo>
                    <a:lnTo>
                      <a:pt x="648" y="349"/>
                    </a:lnTo>
                    <a:lnTo>
                      <a:pt x="648" y="346"/>
                    </a:lnTo>
                    <a:lnTo>
                      <a:pt x="645" y="344"/>
                    </a:lnTo>
                    <a:lnTo>
                      <a:pt x="641" y="346"/>
                    </a:lnTo>
                    <a:lnTo>
                      <a:pt x="636" y="346"/>
                    </a:lnTo>
                    <a:lnTo>
                      <a:pt x="633" y="346"/>
                    </a:lnTo>
                    <a:lnTo>
                      <a:pt x="629" y="349"/>
                    </a:lnTo>
                    <a:lnTo>
                      <a:pt x="624" y="353"/>
                    </a:lnTo>
                    <a:lnTo>
                      <a:pt x="619" y="349"/>
                    </a:lnTo>
                    <a:lnTo>
                      <a:pt x="616" y="349"/>
                    </a:lnTo>
                    <a:lnTo>
                      <a:pt x="612" y="348"/>
                    </a:lnTo>
                    <a:lnTo>
                      <a:pt x="607" y="349"/>
                    </a:lnTo>
                    <a:lnTo>
                      <a:pt x="607" y="346"/>
                    </a:lnTo>
                    <a:lnTo>
                      <a:pt x="611" y="343"/>
                    </a:lnTo>
                    <a:lnTo>
                      <a:pt x="612" y="339"/>
                    </a:lnTo>
                    <a:lnTo>
                      <a:pt x="614" y="336"/>
                    </a:lnTo>
                    <a:lnTo>
                      <a:pt x="607" y="333"/>
                    </a:lnTo>
                    <a:lnTo>
                      <a:pt x="602" y="333"/>
                    </a:lnTo>
                    <a:lnTo>
                      <a:pt x="597" y="333"/>
                    </a:lnTo>
                    <a:lnTo>
                      <a:pt x="595" y="336"/>
                    </a:lnTo>
                    <a:lnTo>
                      <a:pt x="592" y="334"/>
                    </a:lnTo>
                    <a:lnTo>
                      <a:pt x="589" y="336"/>
                    </a:lnTo>
                    <a:lnTo>
                      <a:pt x="585" y="333"/>
                    </a:lnTo>
                    <a:lnTo>
                      <a:pt x="580" y="329"/>
                    </a:lnTo>
                    <a:lnTo>
                      <a:pt x="577" y="326"/>
                    </a:lnTo>
                    <a:lnTo>
                      <a:pt x="570" y="321"/>
                    </a:lnTo>
                    <a:lnTo>
                      <a:pt x="572" y="317"/>
                    </a:lnTo>
                    <a:lnTo>
                      <a:pt x="572" y="314"/>
                    </a:lnTo>
                    <a:lnTo>
                      <a:pt x="565" y="309"/>
                    </a:lnTo>
                    <a:lnTo>
                      <a:pt x="561" y="309"/>
                    </a:lnTo>
                    <a:lnTo>
                      <a:pt x="558" y="312"/>
                    </a:lnTo>
                    <a:lnTo>
                      <a:pt x="556" y="317"/>
                    </a:lnTo>
                    <a:lnTo>
                      <a:pt x="555" y="321"/>
                    </a:lnTo>
                    <a:lnTo>
                      <a:pt x="551" y="321"/>
                    </a:lnTo>
                    <a:lnTo>
                      <a:pt x="544" y="319"/>
                    </a:lnTo>
                    <a:lnTo>
                      <a:pt x="539" y="324"/>
                    </a:lnTo>
                    <a:lnTo>
                      <a:pt x="539" y="327"/>
                    </a:lnTo>
                    <a:lnTo>
                      <a:pt x="536" y="331"/>
                    </a:lnTo>
                    <a:lnTo>
                      <a:pt x="533" y="331"/>
                    </a:lnTo>
                    <a:lnTo>
                      <a:pt x="529" y="338"/>
                    </a:lnTo>
                    <a:lnTo>
                      <a:pt x="521" y="336"/>
                    </a:lnTo>
                    <a:lnTo>
                      <a:pt x="517" y="336"/>
                    </a:lnTo>
                    <a:lnTo>
                      <a:pt x="512" y="339"/>
                    </a:lnTo>
                    <a:lnTo>
                      <a:pt x="509" y="339"/>
                    </a:lnTo>
                    <a:lnTo>
                      <a:pt x="509" y="343"/>
                    </a:lnTo>
                    <a:lnTo>
                      <a:pt x="516" y="348"/>
                    </a:lnTo>
                    <a:lnTo>
                      <a:pt x="519" y="349"/>
                    </a:lnTo>
                    <a:lnTo>
                      <a:pt x="522" y="353"/>
                    </a:lnTo>
                    <a:lnTo>
                      <a:pt x="526" y="356"/>
                    </a:lnTo>
                    <a:lnTo>
                      <a:pt x="521" y="358"/>
                    </a:lnTo>
                    <a:lnTo>
                      <a:pt x="516" y="356"/>
                    </a:lnTo>
                    <a:lnTo>
                      <a:pt x="512" y="358"/>
                    </a:lnTo>
                    <a:lnTo>
                      <a:pt x="507" y="356"/>
                    </a:lnTo>
                    <a:lnTo>
                      <a:pt x="502" y="356"/>
                    </a:lnTo>
                    <a:lnTo>
                      <a:pt x="498" y="353"/>
                    </a:lnTo>
                    <a:lnTo>
                      <a:pt x="493" y="355"/>
                    </a:lnTo>
                    <a:lnTo>
                      <a:pt x="490" y="355"/>
                    </a:lnTo>
                    <a:lnTo>
                      <a:pt x="487" y="358"/>
                    </a:lnTo>
                    <a:lnTo>
                      <a:pt x="483" y="360"/>
                    </a:lnTo>
                    <a:lnTo>
                      <a:pt x="478" y="361"/>
                    </a:lnTo>
                    <a:lnTo>
                      <a:pt x="471" y="361"/>
                    </a:lnTo>
                    <a:lnTo>
                      <a:pt x="468" y="360"/>
                    </a:lnTo>
                    <a:lnTo>
                      <a:pt x="461" y="358"/>
                    </a:lnTo>
                    <a:lnTo>
                      <a:pt x="459" y="353"/>
                    </a:lnTo>
                    <a:lnTo>
                      <a:pt x="461" y="348"/>
                    </a:lnTo>
                    <a:lnTo>
                      <a:pt x="456" y="346"/>
                    </a:lnTo>
                    <a:lnTo>
                      <a:pt x="453" y="351"/>
                    </a:lnTo>
                    <a:lnTo>
                      <a:pt x="451" y="355"/>
                    </a:lnTo>
                    <a:lnTo>
                      <a:pt x="446" y="363"/>
                    </a:lnTo>
                    <a:lnTo>
                      <a:pt x="442" y="366"/>
                    </a:lnTo>
                    <a:lnTo>
                      <a:pt x="439" y="370"/>
                    </a:lnTo>
                    <a:lnTo>
                      <a:pt x="436" y="373"/>
                    </a:lnTo>
                    <a:lnTo>
                      <a:pt x="434" y="370"/>
                    </a:lnTo>
                    <a:lnTo>
                      <a:pt x="434" y="365"/>
                    </a:lnTo>
                    <a:lnTo>
                      <a:pt x="429" y="361"/>
                    </a:lnTo>
                    <a:lnTo>
                      <a:pt x="424" y="360"/>
                    </a:lnTo>
                    <a:lnTo>
                      <a:pt x="420" y="360"/>
                    </a:lnTo>
                    <a:lnTo>
                      <a:pt x="419" y="356"/>
                    </a:lnTo>
                    <a:lnTo>
                      <a:pt x="413" y="355"/>
                    </a:lnTo>
                    <a:lnTo>
                      <a:pt x="408" y="353"/>
                    </a:lnTo>
                    <a:lnTo>
                      <a:pt x="405" y="349"/>
                    </a:lnTo>
                    <a:lnTo>
                      <a:pt x="400" y="348"/>
                    </a:lnTo>
                    <a:lnTo>
                      <a:pt x="398" y="344"/>
                    </a:lnTo>
                    <a:lnTo>
                      <a:pt x="395" y="341"/>
                    </a:lnTo>
                    <a:lnTo>
                      <a:pt x="390" y="341"/>
                    </a:lnTo>
                    <a:lnTo>
                      <a:pt x="385" y="341"/>
                    </a:lnTo>
                    <a:lnTo>
                      <a:pt x="379" y="341"/>
                    </a:lnTo>
                    <a:lnTo>
                      <a:pt x="376" y="341"/>
                    </a:lnTo>
                    <a:lnTo>
                      <a:pt x="371" y="343"/>
                    </a:lnTo>
                    <a:lnTo>
                      <a:pt x="368" y="339"/>
                    </a:lnTo>
                    <a:lnTo>
                      <a:pt x="364" y="343"/>
                    </a:lnTo>
                    <a:lnTo>
                      <a:pt x="362" y="348"/>
                    </a:lnTo>
                    <a:lnTo>
                      <a:pt x="362" y="351"/>
                    </a:lnTo>
                    <a:lnTo>
                      <a:pt x="359" y="355"/>
                    </a:lnTo>
                    <a:lnTo>
                      <a:pt x="354" y="356"/>
                    </a:lnTo>
                    <a:lnTo>
                      <a:pt x="352" y="351"/>
                    </a:lnTo>
                    <a:lnTo>
                      <a:pt x="344" y="346"/>
                    </a:lnTo>
                    <a:lnTo>
                      <a:pt x="339" y="343"/>
                    </a:lnTo>
                    <a:lnTo>
                      <a:pt x="335" y="338"/>
                    </a:lnTo>
                    <a:lnTo>
                      <a:pt x="333" y="331"/>
                    </a:lnTo>
                    <a:lnTo>
                      <a:pt x="328" y="327"/>
                    </a:lnTo>
                    <a:lnTo>
                      <a:pt x="328" y="322"/>
                    </a:lnTo>
                    <a:lnTo>
                      <a:pt x="327" y="319"/>
                    </a:lnTo>
                    <a:lnTo>
                      <a:pt x="323" y="317"/>
                    </a:lnTo>
                    <a:lnTo>
                      <a:pt x="318" y="316"/>
                    </a:lnTo>
                    <a:lnTo>
                      <a:pt x="315" y="317"/>
                    </a:lnTo>
                    <a:lnTo>
                      <a:pt x="308" y="316"/>
                    </a:lnTo>
                    <a:lnTo>
                      <a:pt x="306" y="310"/>
                    </a:lnTo>
                    <a:lnTo>
                      <a:pt x="299" y="304"/>
                    </a:lnTo>
                    <a:lnTo>
                      <a:pt x="294" y="302"/>
                    </a:lnTo>
                    <a:lnTo>
                      <a:pt x="291" y="302"/>
                    </a:lnTo>
                    <a:lnTo>
                      <a:pt x="288" y="302"/>
                    </a:lnTo>
                    <a:lnTo>
                      <a:pt x="282" y="300"/>
                    </a:lnTo>
                    <a:lnTo>
                      <a:pt x="277" y="297"/>
                    </a:lnTo>
                    <a:lnTo>
                      <a:pt x="274" y="299"/>
                    </a:lnTo>
                    <a:lnTo>
                      <a:pt x="269" y="304"/>
                    </a:lnTo>
                    <a:lnTo>
                      <a:pt x="264" y="299"/>
                    </a:lnTo>
                    <a:lnTo>
                      <a:pt x="262" y="295"/>
                    </a:lnTo>
                    <a:lnTo>
                      <a:pt x="259" y="292"/>
                    </a:lnTo>
                    <a:lnTo>
                      <a:pt x="254" y="288"/>
                    </a:lnTo>
                    <a:lnTo>
                      <a:pt x="250" y="288"/>
                    </a:lnTo>
                    <a:lnTo>
                      <a:pt x="245" y="282"/>
                    </a:lnTo>
                    <a:lnTo>
                      <a:pt x="243" y="278"/>
                    </a:lnTo>
                    <a:lnTo>
                      <a:pt x="240" y="275"/>
                    </a:lnTo>
                    <a:lnTo>
                      <a:pt x="235" y="275"/>
                    </a:lnTo>
                    <a:lnTo>
                      <a:pt x="231" y="275"/>
                    </a:lnTo>
                    <a:lnTo>
                      <a:pt x="228" y="277"/>
                    </a:lnTo>
                    <a:lnTo>
                      <a:pt x="225" y="273"/>
                    </a:lnTo>
                    <a:lnTo>
                      <a:pt x="219" y="271"/>
                    </a:lnTo>
                    <a:lnTo>
                      <a:pt x="214" y="268"/>
                    </a:lnTo>
                    <a:lnTo>
                      <a:pt x="211" y="265"/>
                    </a:lnTo>
                    <a:lnTo>
                      <a:pt x="206" y="263"/>
                    </a:lnTo>
                    <a:lnTo>
                      <a:pt x="202" y="260"/>
                    </a:lnTo>
                    <a:lnTo>
                      <a:pt x="201" y="255"/>
                    </a:lnTo>
                    <a:lnTo>
                      <a:pt x="202" y="251"/>
                    </a:lnTo>
                    <a:lnTo>
                      <a:pt x="204" y="248"/>
                    </a:lnTo>
                    <a:lnTo>
                      <a:pt x="202" y="243"/>
                    </a:lnTo>
                    <a:lnTo>
                      <a:pt x="197" y="243"/>
                    </a:lnTo>
                    <a:lnTo>
                      <a:pt x="196" y="238"/>
                    </a:lnTo>
                    <a:lnTo>
                      <a:pt x="191" y="234"/>
                    </a:lnTo>
                    <a:lnTo>
                      <a:pt x="185" y="232"/>
                    </a:lnTo>
                    <a:lnTo>
                      <a:pt x="180" y="234"/>
                    </a:lnTo>
                    <a:lnTo>
                      <a:pt x="177" y="232"/>
                    </a:lnTo>
                    <a:lnTo>
                      <a:pt x="174" y="234"/>
                    </a:lnTo>
                    <a:lnTo>
                      <a:pt x="170" y="234"/>
                    </a:lnTo>
                    <a:lnTo>
                      <a:pt x="165" y="234"/>
                    </a:lnTo>
                    <a:lnTo>
                      <a:pt x="158" y="234"/>
                    </a:lnTo>
                    <a:lnTo>
                      <a:pt x="157" y="238"/>
                    </a:lnTo>
                    <a:lnTo>
                      <a:pt x="151" y="243"/>
                    </a:lnTo>
                    <a:lnTo>
                      <a:pt x="148" y="248"/>
                    </a:lnTo>
                    <a:lnTo>
                      <a:pt x="145" y="253"/>
                    </a:lnTo>
                    <a:lnTo>
                      <a:pt x="141" y="256"/>
                    </a:lnTo>
                    <a:lnTo>
                      <a:pt x="141" y="260"/>
                    </a:lnTo>
                    <a:lnTo>
                      <a:pt x="138" y="265"/>
                    </a:lnTo>
                    <a:lnTo>
                      <a:pt x="134" y="266"/>
                    </a:lnTo>
                    <a:lnTo>
                      <a:pt x="124" y="270"/>
                    </a:lnTo>
                    <a:lnTo>
                      <a:pt x="121" y="271"/>
                    </a:lnTo>
                    <a:lnTo>
                      <a:pt x="117" y="265"/>
                    </a:lnTo>
                    <a:lnTo>
                      <a:pt x="117" y="260"/>
                    </a:lnTo>
                    <a:lnTo>
                      <a:pt x="116" y="255"/>
                    </a:lnTo>
                    <a:lnTo>
                      <a:pt x="111" y="255"/>
                    </a:lnTo>
                    <a:lnTo>
                      <a:pt x="107" y="251"/>
                    </a:lnTo>
                    <a:lnTo>
                      <a:pt x="104" y="248"/>
                    </a:lnTo>
                    <a:lnTo>
                      <a:pt x="100" y="248"/>
                    </a:lnTo>
                    <a:lnTo>
                      <a:pt x="97" y="248"/>
                    </a:lnTo>
                    <a:lnTo>
                      <a:pt x="90" y="246"/>
                    </a:lnTo>
                    <a:lnTo>
                      <a:pt x="89" y="249"/>
                    </a:lnTo>
                    <a:lnTo>
                      <a:pt x="85" y="249"/>
                    </a:lnTo>
                    <a:lnTo>
                      <a:pt x="75" y="251"/>
                    </a:lnTo>
                    <a:lnTo>
                      <a:pt x="71" y="255"/>
                    </a:lnTo>
                    <a:lnTo>
                      <a:pt x="70" y="251"/>
                    </a:lnTo>
                    <a:lnTo>
                      <a:pt x="63" y="253"/>
                    </a:lnTo>
                    <a:lnTo>
                      <a:pt x="61" y="249"/>
                    </a:lnTo>
                    <a:lnTo>
                      <a:pt x="63" y="246"/>
                    </a:lnTo>
                    <a:lnTo>
                      <a:pt x="66" y="241"/>
                    </a:lnTo>
                    <a:lnTo>
                      <a:pt x="68" y="236"/>
                    </a:lnTo>
                    <a:lnTo>
                      <a:pt x="68" y="232"/>
                    </a:lnTo>
                    <a:lnTo>
                      <a:pt x="73" y="231"/>
                    </a:lnTo>
                    <a:lnTo>
                      <a:pt x="75" y="226"/>
                    </a:lnTo>
                    <a:lnTo>
                      <a:pt x="77" y="221"/>
                    </a:lnTo>
                    <a:lnTo>
                      <a:pt x="77" y="214"/>
                    </a:lnTo>
                    <a:lnTo>
                      <a:pt x="77" y="210"/>
                    </a:lnTo>
                    <a:lnTo>
                      <a:pt x="73" y="205"/>
                    </a:lnTo>
                    <a:lnTo>
                      <a:pt x="70" y="202"/>
                    </a:lnTo>
                    <a:lnTo>
                      <a:pt x="66" y="200"/>
                    </a:lnTo>
                    <a:lnTo>
                      <a:pt x="61" y="200"/>
                    </a:lnTo>
                    <a:lnTo>
                      <a:pt x="56" y="197"/>
                    </a:lnTo>
                    <a:lnTo>
                      <a:pt x="56" y="193"/>
                    </a:lnTo>
                    <a:lnTo>
                      <a:pt x="56" y="190"/>
                    </a:lnTo>
                    <a:lnTo>
                      <a:pt x="53" y="190"/>
                    </a:lnTo>
                    <a:lnTo>
                      <a:pt x="49" y="193"/>
                    </a:lnTo>
                    <a:lnTo>
                      <a:pt x="46" y="195"/>
                    </a:lnTo>
                    <a:lnTo>
                      <a:pt x="43" y="195"/>
                    </a:lnTo>
                    <a:lnTo>
                      <a:pt x="39" y="195"/>
                    </a:lnTo>
                    <a:lnTo>
                      <a:pt x="36" y="197"/>
                    </a:lnTo>
                    <a:lnTo>
                      <a:pt x="32" y="193"/>
                    </a:lnTo>
                    <a:lnTo>
                      <a:pt x="27" y="190"/>
                    </a:lnTo>
                    <a:lnTo>
                      <a:pt x="24" y="187"/>
                    </a:lnTo>
                    <a:lnTo>
                      <a:pt x="22" y="190"/>
                    </a:lnTo>
                    <a:lnTo>
                      <a:pt x="14" y="190"/>
                    </a:lnTo>
                    <a:lnTo>
                      <a:pt x="14" y="187"/>
                    </a:lnTo>
                    <a:lnTo>
                      <a:pt x="12" y="183"/>
                    </a:lnTo>
                    <a:lnTo>
                      <a:pt x="7" y="183"/>
                    </a:lnTo>
                    <a:lnTo>
                      <a:pt x="2" y="183"/>
                    </a:lnTo>
                    <a:lnTo>
                      <a:pt x="0" y="176"/>
                    </a:lnTo>
                    <a:lnTo>
                      <a:pt x="0" y="173"/>
                    </a:lnTo>
                    <a:lnTo>
                      <a:pt x="2" y="170"/>
                    </a:lnTo>
                    <a:lnTo>
                      <a:pt x="2" y="166"/>
                    </a:lnTo>
                    <a:lnTo>
                      <a:pt x="0" y="161"/>
                    </a:lnTo>
                    <a:lnTo>
                      <a:pt x="5" y="160"/>
                    </a:lnTo>
                    <a:lnTo>
                      <a:pt x="9" y="160"/>
                    </a:lnTo>
                    <a:lnTo>
                      <a:pt x="9" y="154"/>
                    </a:lnTo>
                    <a:lnTo>
                      <a:pt x="9" y="151"/>
                    </a:lnTo>
                    <a:lnTo>
                      <a:pt x="12" y="154"/>
                    </a:lnTo>
                    <a:lnTo>
                      <a:pt x="14" y="160"/>
                    </a:lnTo>
                    <a:lnTo>
                      <a:pt x="19" y="160"/>
                    </a:lnTo>
                    <a:lnTo>
                      <a:pt x="22" y="160"/>
                    </a:lnTo>
                    <a:lnTo>
                      <a:pt x="27" y="158"/>
                    </a:lnTo>
                    <a:lnTo>
                      <a:pt x="31" y="158"/>
                    </a:lnTo>
                    <a:lnTo>
                      <a:pt x="27" y="153"/>
                    </a:lnTo>
                    <a:lnTo>
                      <a:pt x="29" y="148"/>
                    </a:lnTo>
                    <a:lnTo>
                      <a:pt x="32" y="144"/>
                    </a:lnTo>
                    <a:lnTo>
                      <a:pt x="29" y="139"/>
                    </a:lnTo>
                    <a:lnTo>
                      <a:pt x="26" y="136"/>
                    </a:lnTo>
                    <a:lnTo>
                      <a:pt x="22" y="129"/>
                    </a:lnTo>
                    <a:lnTo>
                      <a:pt x="29" y="126"/>
                    </a:lnTo>
                    <a:lnTo>
                      <a:pt x="29" y="122"/>
                    </a:lnTo>
                    <a:lnTo>
                      <a:pt x="36" y="117"/>
                    </a:lnTo>
                    <a:lnTo>
                      <a:pt x="39" y="114"/>
                    </a:lnTo>
                    <a:lnTo>
                      <a:pt x="39" y="110"/>
                    </a:lnTo>
                    <a:lnTo>
                      <a:pt x="37" y="105"/>
                    </a:lnTo>
                    <a:lnTo>
                      <a:pt x="36" y="98"/>
                    </a:lnTo>
                    <a:lnTo>
                      <a:pt x="36" y="95"/>
                    </a:lnTo>
                    <a:lnTo>
                      <a:pt x="29" y="92"/>
                    </a:lnTo>
                    <a:lnTo>
                      <a:pt x="24" y="92"/>
                    </a:lnTo>
                    <a:lnTo>
                      <a:pt x="24" y="88"/>
                    </a:lnTo>
                    <a:lnTo>
                      <a:pt x="19" y="85"/>
                    </a:lnTo>
                    <a:lnTo>
                      <a:pt x="22" y="82"/>
                    </a:lnTo>
                    <a:lnTo>
                      <a:pt x="24" y="76"/>
                    </a:lnTo>
                    <a:lnTo>
                      <a:pt x="22" y="71"/>
                    </a:lnTo>
                    <a:lnTo>
                      <a:pt x="26" y="71"/>
                    </a:lnTo>
                    <a:lnTo>
                      <a:pt x="31" y="68"/>
                    </a:lnTo>
                    <a:lnTo>
                      <a:pt x="31" y="65"/>
                    </a:lnTo>
                    <a:lnTo>
                      <a:pt x="34" y="61"/>
                    </a:lnTo>
                    <a:lnTo>
                      <a:pt x="34" y="56"/>
                    </a:lnTo>
                    <a:lnTo>
                      <a:pt x="36" y="53"/>
                    </a:lnTo>
                    <a:lnTo>
                      <a:pt x="37" y="48"/>
                    </a:lnTo>
                    <a:lnTo>
                      <a:pt x="43" y="44"/>
                    </a:lnTo>
                    <a:lnTo>
                      <a:pt x="43" y="41"/>
                    </a:lnTo>
                    <a:lnTo>
                      <a:pt x="43" y="36"/>
                    </a:lnTo>
                    <a:lnTo>
                      <a:pt x="43" y="32"/>
                    </a:lnTo>
                    <a:lnTo>
                      <a:pt x="46" y="27"/>
                    </a:lnTo>
                    <a:lnTo>
                      <a:pt x="51" y="24"/>
                    </a:lnTo>
                    <a:lnTo>
                      <a:pt x="53" y="20"/>
                    </a:lnTo>
                    <a:lnTo>
                      <a:pt x="56" y="19"/>
                    </a:lnTo>
                    <a:lnTo>
                      <a:pt x="60" y="15"/>
                    </a:lnTo>
                    <a:lnTo>
                      <a:pt x="63" y="15"/>
                    </a:lnTo>
                    <a:lnTo>
                      <a:pt x="66" y="15"/>
                    </a:lnTo>
                    <a:lnTo>
                      <a:pt x="71" y="14"/>
                    </a:lnTo>
                    <a:lnTo>
                      <a:pt x="75" y="12"/>
                    </a:lnTo>
                    <a:lnTo>
                      <a:pt x="80" y="17"/>
                    </a:lnTo>
                    <a:lnTo>
                      <a:pt x="80" y="20"/>
                    </a:lnTo>
                    <a:lnTo>
                      <a:pt x="85" y="20"/>
                    </a:lnTo>
                    <a:lnTo>
                      <a:pt x="87" y="17"/>
                    </a:lnTo>
                    <a:lnTo>
                      <a:pt x="87" y="12"/>
                    </a:lnTo>
                    <a:lnTo>
                      <a:pt x="83" y="7"/>
                    </a:lnTo>
                    <a:lnTo>
                      <a:pt x="87" y="2"/>
                    </a:lnTo>
                    <a:lnTo>
                      <a:pt x="90" y="5"/>
                    </a:lnTo>
                    <a:lnTo>
                      <a:pt x="92" y="9"/>
                    </a:lnTo>
                    <a:lnTo>
                      <a:pt x="95" y="12"/>
                    </a:lnTo>
                    <a:lnTo>
                      <a:pt x="99" y="12"/>
                    </a:lnTo>
                    <a:lnTo>
                      <a:pt x="102" y="9"/>
                    </a:lnTo>
                    <a:lnTo>
                      <a:pt x="104" y="5"/>
                    </a:lnTo>
                    <a:lnTo>
                      <a:pt x="104" y="2"/>
                    </a:lnTo>
                    <a:lnTo>
                      <a:pt x="107" y="4"/>
                    </a:lnTo>
                    <a:lnTo>
                      <a:pt x="111" y="7"/>
                    </a:lnTo>
                    <a:lnTo>
                      <a:pt x="109" y="10"/>
                    </a:lnTo>
                    <a:lnTo>
                      <a:pt x="109" y="14"/>
                    </a:lnTo>
                    <a:lnTo>
                      <a:pt x="107" y="17"/>
                    </a:lnTo>
                    <a:lnTo>
                      <a:pt x="111" y="20"/>
                    </a:lnTo>
                    <a:lnTo>
                      <a:pt x="114" y="19"/>
                    </a:lnTo>
                    <a:lnTo>
                      <a:pt x="119" y="20"/>
                    </a:lnTo>
                    <a:lnTo>
                      <a:pt x="123" y="24"/>
                    </a:lnTo>
                    <a:lnTo>
                      <a:pt x="128" y="27"/>
                    </a:lnTo>
                    <a:lnTo>
                      <a:pt x="131" y="26"/>
                    </a:lnTo>
                    <a:lnTo>
                      <a:pt x="134" y="22"/>
                    </a:lnTo>
                    <a:lnTo>
                      <a:pt x="138" y="20"/>
                    </a:lnTo>
                    <a:lnTo>
                      <a:pt x="138" y="15"/>
                    </a:lnTo>
                    <a:lnTo>
                      <a:pt x="136" y="10"/>
                    </a:lnTo>
                    <a:lnTo>
                      <a:pt x="141" y="10"/>
                    </a:lnTo>
                    <a:lnTo>
                      <a:pt x="143" y="14"/>
                    </a:lnTo>
                    <a:lnTo>
                      <a:pt x="146" y="19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53" y="27"/>
                    </a:lnTo>
                    <a:lnTo>
                      <a:pt x="158" y="27"/>
                    </a:lnTo>
                    <a:lnTo>
                      <a:pt x="158" y="24"/>
                    </a:lnTo>
                    <a:lnTo>
                      <a:pt x="158" y="19"/>
                    </a:lnTo>
                    <a:lnTo>
                      <a:pt x="158" y="15"/>
                    </a:lnTo>
                    <a:lnTo>
                      <a:pt x="162" y="14"/>
                    </a:lnTo>
                    <a:lnTo>
                      <a:pt x="165" y="14"/>
                    </a:lnTo>
                    <a:lnTo>
                      <a:pt x="168" y="19"/>
                    </a:lnTo>
                    <a:lnTo>
                      <a:pt x="172" y="20"/>
                    </a:lnTo>
                    <a:lnTo>
                      <a:pt x="175" y="17"/>
                    </a:lnTo>
                    <a:lnTo>
                      <a:pt x="175" y="14"/>
                    </a:lnTo>
                    <a:lnTo>
                      <a:pt x="172" y="10"/>
                    </a:lnTo>
                    <a:lnTo>
                      <a:pt x="168" y="7"/>
                    </a:lnTo>
                    <a:lnTo>
                      <a:pt x="170" y="4"/>
                    </a:lnTo>
                    <a:lnTo>
                      <a:pt x="177" y="0"/>
                    </a:lnTo>
                    <a:lnTo>
                      <a:pt x="180" y="0"/>
                    </a:lnTo>
                    <a:lnTo>
                      <a:pt x="182" y="4"/>
                    </a:lnTo>
                    <a:lnTo>
                      <a:pt x="180" y="7"/>
                    </a:lnTo>
                    <a:lnTo>
                      <a:pt x="179" y="10"/>
                    </a:lnTo>
                    <a:lnTo>
                      <a:pt x="179" y="12"/>
                    </a:lnTo>
                    <a:lnTo>
                      <a:pt x="182" y="12"/>
                    </a:lnTo>
                    <a:lnTo>
                      <a:pt x="189" y="5"/>
                    </a:lnTo>
                    <a:lnTo>
                      <a:pt x="192" y="2"/>
                    </a:lnTo>
                    <a:lnTo>
                      <a:pt x="196" y="0"/>
                    </a:lnTo>
                    <a:lnTo>
                      <a:pt x="199" y="4"/>
                    </a:lnTo>
                    <a:lnTo>
                      <a:pt x="202" y="9"/>
                    </a:lnTo>
                    <a:lnTo>
                      <a:pt x="206" y="12"/>
                    </a:lnTo>
                    <a:lnTo>
                      <a:pt x="208" y="15"/>
                    </a:lnTo>
                    <a:lnTo>
                      <a:pt x="206" y="19"/>
                    </a:lnTo>
                    <a:lnTo>
                      <a:pt x="206" y="22"/>
                    </a:lnTo>
                    <a:lnTo>
                      <a:pt x="209" y="24"/>
                    </a:lnTo>
                    <a:lnTo>
                      <a:pt x="213" y="29"/>
                    </a:lnTo>
                    <a:lnTo>
                      <a:pt x="213" y="32"/>
                    </a:lnTo>
                    <a:lnTo>
                      <a:pt x="216" y="32"/>
                    </a:lnTo>
                    <a:lnTo>
                      <a:pt x="219" y="31"/>
                    </a:lnTo>
                    <a:lnTo>
                      <a:pt x="221" y="34"/>
                    </a:lnTo>
                    <a:lnTo>
                      <a:pt x="223" y="37"/>
                    </a:lnTo>
                    <a:lnTo>
                      <a:pt x="226" y="39"/>
                    </a:lnTo>
                    <a:lnTo>
                      <a:pt x="230" y="37"/>
                    </a:lnTo>
                    <a:lnTo>
                      <a:pt x="235" y="36"/>
                    </a:lnTo>
                    <a:lnTo>
                      <a:pt x="238" y="32"/>
                    </a:lnTo>
                    <a:lnTo>
                      <a:pt x="242" y="31"/>
                    </a:lnTo>
                    <a:lnTo>
                      <a:pt x="245" y="36"/>
                    </a:lnTo>
                    <a:lnTo>
                      <a:pt x="248" y="37"/>
                    </a:lnTo>
                    <a:lnTo>
                      <a:pt x="254" y="34"/>
                    </a:lnTo>
                    <a:lnTo>
                      <a:pt x="260" y="37"/>
                    </a:lnTo>
                    <a:lnTo>
                      <a:pt x="264" y="41"/>
                    </a:lnTo>
                    <a:lnTo>
                      <a:pt x="267" y="44"/>
                    </a:lnTo>
                    <a:lnTo>
                      <a:pt x="271" y="48"/>
                    </a:lnTo>
                    <a:lnTo>
                      <a:pt x="276" y="46"/>
                    </a:lnTo>
                    <a:lnTo>
                      <a:pt x="277" y="49"/>
                    </a:lnTo>
                    <a:lnTo>
                      <a:pt x="281" y="53"/>
                    </a:lnTo>
                    <a:lnTo>
                      <a:pt x="284" y="54"/>
                    </a:lnTo>
                    <a:lnTo>
                      <a:pt x="288" y="58"/>
                    </a:lnTo>
                    <a:lnTo>
                      <a:pt x="291" y="58"/>
                    </a:lnTo>
                    <a:lnTo>
                      <a:pt x="294" y="54"/>
                    </a:lnTo>
                    <a:lnTo>
                      <a:pt x="298" y="51"/>
                    </a:lnTo>
                    <a:lnTo>
                      <a:pt x="301" y="51"/>
                    </a:lnTo>
                    <a:lnTo>
                      <a:pt x="305" y="54"/>
                    </a:lnTo>
                    <a:lnTo>
                      <a:pt x="306" y="58"/>
                    </a:lnTo>
                    <a:lnTo>
                      <a:pt x="308" y="61"/>
                    </a:lnTo>
                    <a:lnTo>
                      <a:pt x="310" y="66"/>
                    </a:lnTo>
                    <a:lnTo>
                      <a:pt x="313" y="66"/>
                    </a:lnTo>
                    <a:lnTo>
                      <a:pt x="318" y="68"/>
                    </a:lnTo>
                    <a:lnTo>
                      <a:pt x="323" y="71"/>
                    </a:lnTo>
                    <a:lnTo>
                      <a:pt x="327" y="73"/>
                    </a:lnTo>
                    <a:lnTo>
                      <a:pt x="330" y="75"/>
                    </a:lnTo>
                    <a:lnTo>
                      <a:pt x="333" y="75"/>
                    </a:lnTo>
                    <a:lnTo>
                      <a:pt x="339" y="76"/>
                    </a:lnTo>
                    <a:lnTo>
                      <a:pt x="342" y="78"/>
                    </a:lnTo>
                    <a:lnTo>
                      <a:pt x="345" y="75"/>
                    </a:lnTo>
                    <a:lnTo>
                      <a:pt x="349" y="75"/>
                    </a:lnTo>
                    <a:lnTo>
                      <a:pt x="354" y="73"/>
                    </a:lnTo>
                    <a:lnTo>
                      <a:pt x="357" y="71"/>
                    </a:lnTo>
                    <a:lnTo>
                      <a:pt x="361" y="66"/>
                    </a:lnTo>
                    <a:lnTo>
                      <a:pt x="362" y="63"/>
                    </a:lnTo>
                    <a:lnTo>
                      <a:pt x="364" y="59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6" name="Line 31">
                <a:extLst>
                  <a:ext uri="{FF2B5EF4-FFF2-40B4-BE49-F238E27FC236}">
                    <a16:creationId xmlns:a16="http://schemas.microsoft.com/office/drawing/2014/main" id="{89AC2465-4057-728D-5962-339C4BB45A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75425" y="3309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7" name="Line 32">
                <a:extLst>
                  <a:ext uri="{FF2B5EF4-FFF2-40B4-BE49-F238E27FC236}">
                    <a16:creationId xmlns:a16="http://schemas.microsoft.com/office/drawing/2014/main" id="{B3C25217-4365-7786-17E8-730C18DE2E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59563" y="32956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8" name="Line 33">
                <a:extLst>
                  <a:ext uri="{FF2B5EF4-FFF2-40B4-BE49-F238E27FC236}">
                    <a16:creationId xmlns:a16="http://schemas.microsoft.com/office/drawing/2014/main" id="{B796FC9D-BB91-B912-188B-856D4FC650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91313" y="32908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09" name="Line 34">
                <a:extLst>
                  <a:ext uri="{FF2B5EF4-FFF2-40B4-BE49-F238E27FC236}">
                    <a16:creationId xmlns:a16="http://schemas.microsoft.com/office/drawing/2014/main" id="{87F2A9E7-AB7A-B2A6-A828-6A6AB7D26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37338" y="3275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0" name="Line 35">
                <a:extLst>
                  <a:ext uri="{FF2B5EF4-FFF2-40B4-BE49-F238E27FC236}">
                    <a16:creationId xmlns:a16="http://schemas.microsoft.com/office/drawing/2014/main" id="{15649A8A-7A80-F3B0-BE89-66F93AFE15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59550" y="31988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1" name="Line 36">
                <a:extLst>
                  <a:ext uri="{FF2B5EF4-FFF2-40B4-BE49-F238E27FC236}">
                    <a16:creationId xmlns:a16="http://schemas.microsoft.com/office/drawing/2014/main" id="{D5E47F5C-01FD-D8D5-56AB-DA19C41A59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59550" y="31940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2" name="Line 37">
                <a:extLst>
                  <a:ext uri="{FF2B5EF4-FFF2-40B4-BE49-F238E27FC236}">
                    <a16:creationId xmlns:a16="http://schemas.microsoft.com/office/drawing/2014/main" id="{E8B532D4-87DA-589E-C711-DD611568CF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51613" y="31861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3" name="Line 38">
                <a:extLst>
                  <a:ext uri="{FF2B5EF4-FFF2-40B4-BE49-F238E27FC236}">
                    <a16:creationId xmlns:a16="http://schemas.microsoft.com/office/drawing/2014/main" id="{7307DFD2-3BED-FDDF-549E-7B14A13C51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9525" y="31178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4" name="Line 39">
                <a:extLst>
                  <a:ext uri="{FF2B5EF4-FFF2-40B4-BE49-F238E27FC236}">
                    <a16:creationId xmlns:a16="http://schemas.microsoft.com/office/drawing/2014/main" id="{EB1BE0DE-2F05-A63D-DFB5-A587558E8D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38888" y="31162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5" name="Line 40">
                <a:extLst>
                  <a:ext uri="{FF2B5EF4-FFF2-40B4-BE49-F238E27FC236}">
                    <a16:creationId xmlns:a16="http://schemas.microsoft.com/office/drawing/2014/main" id="{8C9EA488-9925-FCB6-11B2-922645D6A3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38888" y="31162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6" name="Line 41">
                <a:extLst>
                  <a:ext uri="{FF2B5EF4-FFF2-40B4-BE49-F238E27FC236}">
                    <a16:creationId xmlns:a16="http://schemas.microsoft.com/office/drawing/2014/main" id="{6545A7BB-C182-A9A9-29F4-E04DE53477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4763" y="31162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7" name="Line 42">
                <a:extLst>
                  <a:ext uri="{FF2B5EF4-FFF2-40B4-BE49-F238E27FC236}">
                    <a16:creationId xmlns:a16="http://schemas.microsoft.com/office/drawing/2014/main" id="{4B8B1F0C-DCF7-504C-A29C-0F46C5394E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40475" y="31130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8" name="Line 43">
                <a:extLst>
                  <a:ext uri="{FF2B5EF4-FFF2-40B4-BE49-F238E27FC236}">
                    <a16:creationId xmlns:a16="http://schemas.microsoft.com/office/drawing/2014/main" id="{5547F62E-5715-8091-198C-FE3B3E60B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40475" y="31130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19" name="Line 44">
                <a:extLst>
                  <a:ext uri="{FF2B5EF4-FFF2-40B4-BE49-F238E27FC236}">
                    <a16:creationId xmlns:a16="http://schemas.microsoft.com/office/drawing/2014/main" id="{EE05CF97-F7A2-0DE6-AE3B-318A6051DA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43650" y="31130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0" name="Line 45">
                <a:extLst>
                  <a:ext uri="{FF2B5EF4-FFF2-40B4-BE49-F238E27FC236}">
                    <a16:creationId xmlns:a16="http://schemas.microsoft.com/office/drawing/2014/main" id="{32F21CF1-4E58-BA64-58F0-37A854CFC4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19838" y="31051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1" name="Line 46">
                <a:extLst>
                  <a:ext uri="{FF2B5EF4-FFF2-40B4-BE49-F238E27FC236}">
                    <a16:creationId xmlns:a16="http://schemas.microsoft.com/office/drawing/2014/main" id="{8EE0334C-5007-CCEB-0CD6-C2EDE6F9B3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81763" y="30654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2" name="Line 47">
                <a:extLst>
                  <a:ext uri="{FF2B5EF4-FFF2-40B4-BE49-F238E27FC236}">
                    <a16:creationId xmlns:a16="http://schemas.microsoft.com/office/drawing/2014/main" id="{B49EED57-69D7-4B5E-D543-A293BD67E4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21425" y="30511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3" name="Line 48">
                <a:extLst>
                  <a:ext uri="{FF2B5EF4-FFF2-40B4-BE49-F238E27FC236}">
                    <a16:creationId xmlns:a16="http://schemas.microsoft.com/office/drawing/2014/main" id="{375EB8AF-7D6A-2C56-1106-99AE8BB782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13500" y="30353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4" name="Line 49">
                <a:extLst>
                  <a:ext uri="{FF2B5EF4-FFF2-40B4-BE49-F238E27FC236}">
                    <a16:creationId xmlns:a16="http://schemas.microsoft.com/office/drawing/2014/main" id="{157DB6B8-99C2-7209-7EA1-EA46666D1C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81750" y="3030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5" name="Line 50">
                <a:extLst>
                  <a:ext uri="{FF2B5EF4-FFF2-40B4-BE49-F238E27FC236}">
                    <a16:creationId xmlns:a16="http://schemas.microsoft.com/office/drawing/2014/main" id="{49DB3123-2F1E-413B-5683-477DBF0E7F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81750" y="30273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6" name="Line 51">
                <a:extLst>
                  <a:ext uri="{FF2B5EF4-FFF2-40B4-BE49-F238E27FC236}">
                    <a16:creationId xmlns:a16="http://schemas.microsoft.com/office/drawing/2014/main" id="{0400AD9A-6667-B370-C6EE-1CEFEF047C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9525" y="30273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7" name="Freeform 52">
                <a:extLst>
                  <a:ext uri="{FF2B5EF4-FFF2-40B4-BE49-F238E27FC236}">
                    <a16:creationId xmlns:a16="http://schemas.microsoft.com/office/drawing/2014/main" id="{FDE5B850-73DF-2DDB-DBF0-EC45C15DA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3030538"/>
                <a:ext cx="139700" cy="87312"/>
              </a:xfrm>
              <a:custGeom>
                <a:avLst/>
                <a:gdLst>
                  <a:gd name="T0" fmla="*/ 61 w 88"/>
                  <a:gd name="T1" fmla="*/ 25 h 55"/>
                  <a:gd name="T2" fmla="*/ 66 w 88"/>
                  <a:gd name="T3" fmla="*/ 20 h 55"/>
                  <a:gd name="T4" fmla="*/ 73 w 88"/>
                  <a:gd name="T5" fmla="*/ 11 h 55"/>
                  <a:gd name="T6" fmla="*/ 74 w 88"/>
                  <a:gd name="T7" fmla="*/ 3 h 55"/>
                  <a:gd name="T8" fmla="*/ 81 w 88"/>
                  <a:gd name="T9" fmla="*/ 1 h 55"/>
                  <a:gd name="T10" fmla="*/ 88 w 88"/>
                  <a:gd name="T11" fmla="*/ 8 h 55"/>
                  <a:gd name="T12" fmla="*/ 85 w 88"/>
                  <a:gd name="T13" fmla="*/ 15 h 55"/>
                  <a:gd name="T14" fmla="*/ 85 w 88"/>
                  <a:gd name="T15" fmla="*/ 25 h 55"/>
                  <a:gd name="T16" fmla="*/ 83 w 88"/>
                  <a:gd name="T17" fmla="*/ 32 h 55"/>
                  <a:gd name="T18" fmla="*/ 73 w 88"/>
                  <a:gd name="T19" fmla="*/ 37 h 55"/>
                  <a:gd name="T20" fmla="*/ 78 w 88"/>
                  <a:gd name="T21" fmla="*/ 42 h 55"/>
                  <a:gd name="T22" fmla="*/ 86 w 88"/>
                  <a:gd name="T23" fmla="*/ 50 h 55"/>
                  <a:gd name="T24" fmla="*/ 79 w 88"/>
                  <a:gd name="T25" fmla="*/ 52 h 55"/>
                  <a:gd name="T26" fmla="*/ 71 w 88"/>
                  <a:gd name="T27" fmla="*/ 52 h 55"/>
                  <a:gd name="T28" fmla="*/ 66 w 88"/>
                  <a:gd name="T29" fmla="*/ 42 h 55"/>
                  <a:gd name="T30" fmla="*/ 62 w 88"/>
                  <a:gd name="T31" fmla="*/ 35 h 55"/>
                  <a:gd name="T32" fmla="*/ 57 w 88"/>
                  <a:gd name="T33" fmla="*/ 42 h 55"/>
                  <a:gd name="T34" fmla="*/ 54 w 88"/>
                  <a:gd name="T35" fmla="*/ 40 h 55"/>
                  <a:gd name="T36" fmla="*/ 47 w 88"/>
                  <a:gd name="T37" fmla="*/ 42 h 55"/>
                  <a:gd name="T38" fmla="*/ 44 w 88"/>
                  <a:gd name="T39" fmla="*/ 45 h 55"/>
                  <a:gd name="T40" fmla="*/ 35 w 88"/>
                  <a:gd name="T41" fmla="*/ 42 h 55"/>
                  <a:gd name="T42" fmla="*/ 35 w 88"/>
                  <a:gd name="T43" fmla="*/ 49 h 55"/>
                  <a:gd name="T44" fmla="*/ 27 w 88"/>
                  <a:gd name="T45" fmla="*/ 47 h 55"/>
                  <a:gd name="T46" fmla="*/ 13 w 88"/>
                  <a:gd name="T47" fmla="*/ 47 h 55"/>
                  <a:gd name="T48" fmla="*/ 5 w 88"/>
                  <a:gd name="T49" fmla="*/ 45 h 55"/>
                  <a:gd name="T50" fmla="*/ 0 w 88"/>
                  <a:gd name="T51" fmla="*/ 35 h 55"/>
                  <a:gd name="T52" fmla="*/ 1 w 88"/>
                  <a:gd name="T53" fmla="*/ 25 h 55"/>
                  <a:gd name="T54" fmla="*/ 13 w 88"/>
                  <a:gd name="T55" fmla="*/ 22 h 55"/>
                  <a:gd name="T56" fmla="*/ 20 w 88"/>
                  <a:gd name="T57" fmla="*/ 20 h 55"/>
                  <a:gd name="T58" fmla="*/ 30 w 88"/>
                  <a:gd name="T59" fmla="*/ 27 h 55"/>
                  <a:gd name="T60" fmla="*/ 37 w 88"/>
                  <a:gd name="T61" fmla="*/ 25 h 55"/>
                  <a:gd name="T62" fmla="*/ 44 w 88"/>
                  <a:gd name="T63" fmla="*/ 18 h 55"/>
                  <a:gd name="T64" fmla="*/ 44 w 88"/>
                  <a:gd name="T65" fmla="*/ 15 h 55"/>
                  <a:gd name="T66" fmla="*/ 54 w 88"/>
                  <a:gd name="T67" fmla="*/ 16 h 55"/>
                  <a:gd name="T68" fmla="*/ 54 w 88"/>
                  <a:gd name="T69" fmla="*/ 2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8" h="55">
                    <a:moveTo>
                      <a:pt x="54" y="20"/>
                    </a:moveTo>
                    <a:lnTo>
                      <a:pt x="61" y="25"/>
                    </a:lnTo>
                    <a:lnTo>
                      <a:pt x="64" y="23"/>
                    </a:lnTo>
                    <a:lnTo>
                      <a:pt x="66" y="20"/>
                    </a:lnTo>
                    <a:lnTo>
                      <a:pt x="69" y="15"/>
                    </a:lnTo>
                    <a:lnTo>
                      <a:pt x="73" y="11"/>
                    </a:lnTo>
                    <a:lnTo>
                      <a:pt x="74" y="8"/>
                    </a:lnTo>
                    <a:lnTo>
                      <a:pt x="74" y="3"/>
                    </a:lnTo>
                    <a:lnTo>
                      <a:pt x="78" y="0"/>
                    </a:lnTo>
                    <a:lnTo>
                      <a:pt x="81" y="1"/>
                    </a:lnTo>
                    <a:lnTo>
                      <a:pt x="85" y="5"/>
                    </a:lnTo>
                    <a:lnTo>
                      <a:pt x="88" y="8"/>
                    </a:lnTo>
                    <a:lnTo>
                      <a:pt x="85" y="10"/>
                    </a:lnTo>
                    <a:lnTo>
                      <a:pt x="85" y="15"/>
                    </a:lnTo>
                    <a:lnTo>
                      <a:pt x="85" y="20"/>
                    </a:lnTo>
                    <a:lnTo>
                      <a:pt x="85" y="25"/>
                    </a:lnTo>
                    <a:lnTo>
                      <a:pt x="85" y="28"/>
                    </a:lnTo>
                    <a:lnTo>
                      <a:pt x="83" y="32"/>
                    </a:lnTo>
                    <a:lnTo>
                      <a:pt x="78" y="35"/>
                    </a:lnTo>
                    <a:lnTo>
                      <a:pt x="73" y="37"/>
                    </a:lnTo>
                    <a:lnTo>
                      <a:pt x="78" y="39"/>
                    </a:lnTo>
                    <a:lnTo>
                      <a:pt x="78" y="42"/>
                    </a:lnTo>
                    <a:lnTo>
                      <a:pt x="83" y="44"/>
                    </a:lnTo>
                    <a:lnTo>
                      <a:pt x="86" y="50"/>
                    </a:lnTo>
                    <a:lnTo>
                      <a:pt x="83" y="55"/>
                    </a:lnTo>
                    <a:lnTo>
                      <a:pt x="79" y="52"/>
                    </a:lnTo>
                    <a:lnTo>
                      <a:pt x="74" y="54"/>
                    </a:lnTo>
                    <a:lnTo>
                      <a:pt x="71" y="52"/>
                    </a:lnTo>
                    <a:lnTo>
                      <a:pt x="69" y="47"/>
                    </a:lnTo>
                    <a:lnTo>
                      <a:pt x="66" y="42"/>
                    </a:lnTo>
                    <a:lnTo>
                      <a:pt x="66" y="39"/>
                    </a:lnTo>
                    <a:lnTo>
                      <a:pt x="62" y="35"/>
                    </a:lnTo>
                    <a:lnTo>
                      <a:pt x="56" y="37"/>
                    </a:lnTo>
                    <a:lnTo>
                      <a:pt x="57" y="42"/>
                    </a:lnTo>
                    <a:lnTo>
                      <a:pt x="56" y="45"/>
                    </a:lnTo>
                    <a:lnTo>
                      <a:pt x="54" y="40"/>
                    </a:lnTo>
                    <a:lnTo>
                      <a:pt x="51" y="37"/>
                    </a:lnTo>
                    <a:lnTo>
                      <a:pt x="47" y="42"/>
                    </a:lnTo>
                    <a:lnTo>
                      <a:pt x="47" y="45"/>
                    </a:lnTo>
                    <a:lnTo>
                      <a:pt x="44" y="45"/>
                    </a:lnTo>
                    <a:lnTo>
                      <a:pt x="40" y="44"/>
                    </a:lnTo>
                    <a:lnTo>
                      <a:pt x="35" y="42"/>
                    </a:lnTo>
                    <a:lnTo>
                      <a:pt x="34" y="45"/>
                    </a:lnTo>
                    <a:lnTo>
                      <a:pt x="35" y="49"/>
                    </a:lnTo>
                    <a:lnTo>
                      <a:pt x="30" y="49"/>
                    </a:lnTo>
                    <a:lnTo>
                      <a:pt x="27" y="47"/>
                    </a:lnTo>
                    <a:lnTo>
                      <a:pt x="22" y="45"/>
                    </a:lnTo>
                    <a:lnTo>
                      <a:pt x="13" y="47"/>
                    </a:lnTo>
                    <a:lnTo>
                      <a:pt x="10" y="47"/>
                    </a:lnTo>
                    <a:lnTo>
                      <a:pt x="5" y="45"/>
                    </a:lnTo>
                    <a:lnTo>
                      <a:pt x="3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1" y="25"/>
                    </a:lnTo>
                    <a:lnTo>
                      <a:pt x="6" y="22"/>
                    </a:lnTo>
                    <a:lnTo>
                      <a:pt x="13" y="22"/>
                    </a:lnTo>
                    <a:lnTo>
                      <a:pt x="17" y="22"/>
                    </a:lnTo>
                    <a:lnTo>
                      <a:pt x="20" y="20"/>
                    </a:lnTo>
                    <a:lnTo>
                      <a:pt x="25" y="22"/>
                    </a:lnTo>
                    <a:lnTo>
                      <a:pt x="30" y="27"/>
                    </a:lnTo>
                    <a:lnTo>
                      <a:pt x="35" y="28"/>
                    </a:lnTo>
                    <a:lnTo>
                      <a:pt x="37" y="25"/>
                    </a:lnTo>
                    <a:lnTo>
                      <a:pt x="40" y="23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44" y="15"/>
                    </a:lnTo>
                    <a:lnTo>
                      <a:pt x="49" y="16"/>
                    </a:lnTo>
                    <a:lnTo>
                      <a:pt x="54" y="16"/>
                    </a:lnTo>
                    <a:lnTo>
                      <a:pt x="57" y="16"/>
                    </a:lnTo>
                    <a:lnTo>
                      <a:pt x="54" y="20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8" name="Freeform 53">
                <a:extLst>
                  <a:ext uri="{FF2B5EF4-FFF2-40B4-BE49-F238E27FC236}">
                    <a16:creationId xmlns:a16="http://schemas.microsoft.com/office/drawing/2014/main" id="{E53555BC-DA8D-22BC-7FE2-1CB51A4D3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1550" y="2135188"/>
                <a:ext cx="1092200" cy="1168400"/>
              </a:xfrm>
              <a:custGeom>
                <a:avLst/>
                <a:gdLst>
                  <a:gd name="T0" fmla="*/ 300 w 688"/>
                  <a:gd name="T1" fmla="*/ 128 h 736"/>
                  <a:gd name="T2" fmla="*/ 332 w 688"/>
                  <a:gd name="T3" fmla="*/ 117 h 736"/>
                  <a:gd name="T4" fmla="*/ 369 w 688"/>
                  <a:gd name="T5" fmla="*/ 123 h 736"/>
                  <a:gd name="T6" fmla="*/ 392 w 688"/>
                  <a:gd name="T7" fmla="*/ 116 h 736"/>
                  <a:gd name="T8" fmla="*/ 415 w 688"/>
                  <a:gd name="T9" fmla="*/ 92 h 736"/>
                  <a:gd name="T10" fmla="*/ 446 w 688"/>
                  <a:gd name="T11" fmla="*/ 87 h 736"/>
                  <a:gd name="T12" fmla="*/ 490 w 688"/>
                  <a:gd name="T13" fmla="*/ 106 h 736"/>
                  <a:gd name="T14" fmla="*/ 512 w 688"/>
                  <a:gd name="T15" fmla="*/ 114 h 736"/>
                  <a:gd name="T16" fmla="*/ 511 w 688"/>
                  <a:gd name="T17" fmla="*/ 145 h 736"/>
                  <a:gd name="T18" fmla="*/ 509 w 688"/>
                  <a:gd name="T19" fmla="*/ 179 h 736"/>
                  <a:gd name="T20" fmla="*/ 536 w 688"/>
                  <a:gd name="T21" fmla="*/ 209 h 736"/>
                  <a:gd name="T22" fmla="*/ 579 w 688"/>
                  <a:gd name="T23" fmla="*/ 228 h 736"/>
                  <a:gd name="T24" fmla="*/ 619 w 688"/>
                  <a:gd name="T25" fmla="*/ 241 h 736"/>
                  <a:gd name="T26" fmla="*/ 653 w 688"/>
                  <a:gd name="T27" fmla="*/ 238 h 736"/>
                  <a:gd name="T28" fmla="*/ 681 w 688"/>
                  <a:gd name="T29" fmla="*/ 253 h 736"/>
                  <a:gd name="T30" fmla="*/ 670 w 688"/>
                  <a:gd name="T31" fmla="*/ 260 h 736"/>
                  <a:gd name="T32" fmla="*/ 648 w 688"/>
                  <a:gd name="T33" fmla="*/ 289 h 736"/>
                  <a:gd name="T34" fmla="*/ 619 w 688"/>
                  <a:gd name="T35" fmla="*/ 328 h 736"/>
                  <a:gd name="T36" fmla="*/ 611 w 688"/>
                  <a:gd name="T37" fmla="*/ 352 h 736"/>
                  <a:gd name="T38" fmla="*/ 625 w 688"/>
                  <a:gd name="T39" fmla="*/ 375 h 736"/>
                  <a:gd name="T40" fmla="*/ 648 w 688"/>
                  <a:gd name="T41" fmla="*/ 394 h 736"/>
                  <a:gd name="T42" fmla="*/ 621 w 688"/>
                  <a:gd name="T43" fmla="*/ 423 h 736"/>
                  <a:gd name="T44" fmla="*/ 601 w 688"/>
                  <a:gd name="T45" fmla="*/ 443 h 736"/>
                  <a:gd name="T46" fmla="*/ 584 w 688"/>
                  <a:gd name="T47" fmla="*/ 482 h 736"/>
                  <a:gd name="T48" fmla="*/ 592 w 688"/>
                  <a:gd name="T49" fmla="*/ 509 h 736"/>
                  <a:gd name="T50" fmla="*/ 592 w 688"/>
                  <a:gd name="T51" fmla="*/ 545 h 736"/>
                  <a:gd name="T52" fmla="*/ 565 w 688"/>
                  <a:gd name="T53" fmla="*/ 564 h 736"/>
                  <a:gd name="T54" fmla="*/ 543 w 688"/>
                  <a:gd name="T55" fmla="*/ 586 h 736"/>
                  <a:gd name="T56" fmla="*/ 550 w 688"/>
                  <a:gd name="T57" fmla="*/ 619 h 736"/>
                  <a:gd name="T58" fmla="*/ 534 w 688"/>
                  <a:gd name="T59" fmla="*/ 645 h 736"/>
                  <a:gd name="T60" fmla="*/ 499 w 688"/>
                  <a:gd name="T61" fmla="*/ 670 h 736"/>
                  <a:gd name="T62" fmla="*/ 509 w 688"/>
                  <a:gd name="T63" fmla="*/ 706 h 736"/>
                  <a:gd name="T64" fmla="*/ 468 w 688"/>
                  <a:gd name="T65" fmla="*/ 720 h 736"/>
                  <a:gd name="T66" fmla="*/ 429 w 688"/>
                  <a:gd name="T67" fmla="*/ 720 h 736"/>
                  <a:gd name="T68" fmla="*/ 400 w 688"/>
                  <a:gd name="T69" fmla="*/ 730 h 736"/>
                  <a:gd name="T70" fmla="*/ 371 w 688"/>
                  <a:gd name="T71" fmla="*/ 716 h 736"/>
                  <a:gd name="T72" fmla="*/ 397 w 688"/>
                  <a:gd name="T73" fmla="*/ 694 h 736"/>
                  <a:gd name="T74" fmla="*/ 373 w 688"/>
                  <a:gd name="T75" fmla="*/ 653 h 736"/>
                  <a:gd name="T76" fmla="*/ 340 w 688"/>
                  <a:gd name="T77" fmla="*/ 613 h 736"/>
                  <a:gd name="T78" fmla="*/ 293 w 688"/>
                  <a:gd name="T79" fmla="*/ 592 h 736"/>
                  <a:gd name="T80" fmla="*/ 288 w 688"/>
                  <a:gd name="T81" fmla="*/ 552 h 736"/>
                  <a:gd name="T82" fmla="*/ 238 w 688"/>
                  <a:gd name="T83" fmla="*/ 531 h 736"/>
                  <a:gd name="T84" fmla="*/ 211 w 688"/>
                  <a:gd name="T85" fmla="*/ 531 h 736"/>
                  <a:gd name="T86" fmla="*/ 223 w 688"/>
                  <a:gd name="T87" fmla="*/ 480 h 736"/>
                  <a:gd name="T88" fmla="*/ 220 w 688"/>
                  <a:gd name="T89" fmla="*/ 435 h 736"/>
                  <a:gd name="T90" fmla="*/ 198 w 688"/>
                  <a:gd name="T91" fmla="*/ 389 h 736"/>
                  <a:gd name="T92" fmla="*/ 165 w 688"/>
                  <a:gd name="T93" fmla="*/ 343 h 736"/>
                  <a:gd name="T94" fmla="*/ 158 w 688"/>
                  <a:gd name="T95" fmla="*/ 313 h 736"/>
                  <a:gd name="T96" fmla="*/ 152 w 688"/>
                  <a:gd name="T97" fmla="*/ 265 h 736"/>
                  <a:gd name="T98" fmla="*/ 141 w 688"/>
                  <a:gd name="T99" fmla="*/ 212 h 736"/>
                  <a:gd name="T100" fmla="*/ 97 w 688"/>
                  <a:gd name="T101" fmla="*/ 156 h 736"/>
                  <a:gd name="T102" fmla="*/ 78 w 688"/>
                  <a:gd name="T103" fmla="*/ 131 h 736"/>
                  <a:gd name="T104" fmla="*/ 55 w 688"/>
                  <a:gd name="T105" fmla="*/ 109 h 736"/>
                  <a:gd name="T106" fmla="*/ 48 w 688"/>
                  <a:gd name="T107" fmla="*/ 89 h 736"/>
                  <a:gd name="T108" fmla="*/ 19 w 688"/>
                  <a:gd name="T109" fmla="*/ 56 h 736"/>
                  <a:gd name="T110" fmla="*/ 16 w 688"/>
                  <a:gd name="T111" fmla="*/ 26 h 736"/>
                  <a:gd name="T112" fmla="*/ 55 w 688"/>
                  <a:gd name="T113" fmla="*/ 2 h 736"/>
                  <a:gd name="T114" fmla="*/ 82 w 688"/>
                  <a:gd name="T115" fmla="*/ 29 h 736"/>
                  <a:gd name="T116" fmla="*/ 121 w 688"/>
                  <a:gd name="T117" fmla="*/ 50 h 736"/>
                  <a:gd name="T118" fmla="*/ 164 w 688"/>
                  <a:gd name="T119" fmla="*/ 70 h 736"/>
                  <a:gd name="T120" fmla="*/ 204 w 688"/>
                  <a:gd name="T121" fmla="*/ 89 h 736"/>
                  <a:gd name="T122" fmla="*/ 238 w 688"/>
                  <a:gd name="T123" fmla="*/ 11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88" h="736">
                    <a:moveTo>
                      <a:pt x="266" y="109"/>
                    </a:moveTo>
                    <a:lnTo>
                      <a:pt x="271" y="109"/>
                    </a:lnTo>
                    <a:lnTo>
                      <a:pt x="274" y="112"/>
                    </a:lnTo>
                    <a:lnTo>
                      <a:pt x="276" y="116"/>
                    </a:lnTo>
                    <a:lnTo>
                      <a:pt x="281" y="117"/>
                    </a:lnTo>
                    <a:lnTo>
                      <a:pt x="284" y="121"/>
                    </a:lnTo>
                    <a:lnTo>
                      <a:pt x="288" y="124"/>
                    </a:lnTo>
                    <a:lnTo>
                      <a:pt x="295" y="124"/>
                    </a:lnTo>
                    <a:lnTo>
                      <a:pt x="296" y="128"/>
                    </a:lnTo>
                    <a:lnTo>
                      <a:pt x="300" y="128"/>
                    </a:lnTo>
                    <a:lnTo>
                      <a:pt x="303" y="128"/>
                    </a:lnTo>
                    <a:lnTo>
                      <a:pt x="310" y="133"/>
                    </a:lnTo>
                    <a:lnTo>
                      <a:pt x="310" y="138"/>
                    </a:lnTo>
                    <a:lnTo>
                      <a:pt x="312" y="141"/>
                    </a:lnTo>
                    <a:lnTo>
                      <a:pt x="315" y="138"/>
                    </a:lnTo>
                    <a:lnTo>
                      <a:pt x="318" y="134"/>
                    </a:lnTo>
                    <a:lnTo>
                      <a:pt x="322" y="131"/>
                    </a:lnTo>
                    <a:lnTo>
                      <a:pt x="327" y="124"/>
                    </a:lnTo>
                    <a:lnTo>
                      <a:pt x="329" y="119"/>
                    </a:lnTo>
                    <a:lnTo>
                      <a:pt x="332" y="117"/>
                    </a:lnTo>
                    <a:lnTo>
                      <a:pt x="337" y="114"/>
                    </a:lnTo>
                    <a:lnTo>
                      <a:pt x="337" y="117"/>
                    </a:lnTo>
                    <a:lnTo>
                      <a:pt x="334" y="123"/>
                    </a:lnTo>
                    <a:lnTo>
                      <a:pt x="340" y="128"/>
                    </a:lnTo>
                    <a:lnTo>
                      <a:pt x="346" y="128"/>
                    </a:lnTo>
                    <a:lnTo>
                      <a:pt x="352" y="129"/>
                    </a:lnTo>
                    <a:lnTo>
                      <a:pt x="357" y="129"/>
                    </a:lnTo>
                    <a:lnTo>
                      <a:pt x="363" y="126"/>
                    </a:lnTo>
                    <a:lnTo>
                      <a:pt x="366" y="123"/>
                    </a:lnTo>
                    <a:lnTo>
                      <a:pt x="369" y="123"/>
                    </a:lnTo>
                    <a:lnTo>
                      <a:pt x="374" y="121"/>
                    </a:lnTo>
                    <a:lnTo>
                      <a:pt x="378" y="124"/>
                    </a:lnTo>
                    <a:lnTo>
                      <a:pt x="381" y="124"/>
                    </a:lnTo>
                    <a:lnTo>
                      <a:pt x="385" y="126"/>
                    </a:lnTo>
                    <a:lnTo>
                      <a:pt x="390" y="126"/>
                    </a:lnTo>
                    <a:lnTo>
                      <a:pt x="393" y="124"/>
                    </a:lnTo>
                    <a:lnTo>
                      <a:pt x="398" y="124"/>
                    </a:lnTo>
                    <a:lnTo>
                      <a:pt x="400" y="121"/>
                    </a:lnTo>
                    <a:lnTo>
                      <a:pt x="395" y="117"/>
                    </a:lnTo>
                    <a:lnTo>
                      <a:pt x="392" y="116"/>
                    </a:lnTo>
                    <a:lnTo>
                      <a:pt x="388" y="114"/>
                    </a:lnTo>
                    <a:lnTo>
                      <a:pt x="383" y="111"/>
                    </a:lnTo>
                    <a:lnTo>
                      <a:pt x="388" y="107"/>
                    </a:lnTo>
                    <a:lnTo>
                      <a:pt x="392" y="106"/>
                    </a:lnTo>
                    <a:lnTo>
                      <a:pt x="397" y="104"/>
                    </a:lnTo>
                    <a:lnTo>
                      <a:pt x="402" y="104"/>
                    </a:lnTo>
                    <a:lnTo>
                      <a:pt x="409" y="101"/>
                    </a:lnTo>
                    <a:lnTo>
                      <a:pt x="412" y="99"/>
                    </a:lnTo>
                    <a:lnTo>
                      <a:pt x="415" y="95"/>
                    </a:lnTo>
                    <a:lnTo>
                      <a:pt x="415" y="92"/>
                    </a:lnTo>
                    <a:lnTo>
                      <a:pt x="420" y="87"/>
                    </a:lnTo>
                    <a:lnTo>
                      <a:pt x="426" y="87"/>
                    </a:lnTo>
                    <a:lnTo>
                      <a:pt x="429" y="90"/>
                    </a:lnTo>
                    <a:lnTo>
                      <a:pt x="431" y="87"/>
                    </a:lnTo>
                    <a:lnTo>
                      <a:pt x="432" y="84"/>
                    </a:lnTo>
                    <a:lnTo>
                      <a:pt x="437" y="77"/>
                    </a:lnTo>
                    <a:lnTo>
                      <a:pt x="441" y="77"/>
                    </a:lnTo>
                    <a:lnTo>
                      <a:pt x="444" y="80"/>
                    </a:lnTo>
                    <a:lnTo>
                      <a:pt x="448" y="84"/>
                    </a:lnTo>
                    <a:lnTo>
                      <a:pt x="446" y="87"/>
                    </a:lnTo>
                    <a:lnTo>
                      <a:pt x="449" y="92"/>
                    </a:lnTo>
                    <a:lnTo>
                      <a:pt x="454" y="94"/>
                    </a:lnTo>
                    <a:lnTo>
                      <a:pt x="461" y="101"/>
                    </a:lnTo>
                    <a:lnTo>
                      <a:pt x="465" y="102"/>
                    </a:lnTo>
                    <a:lnTo>
                      <a:pt x="470" y="104"/>
                    </a:lnTo>
                    <a:lnTo>
                      <a:pt x="473" y="102"/>
                    </a:lnTo>
                    <a:lnTo>
                      <a:pt x="477" y="101"/>
                    </a:lnTo>
                    <a:lnTo>
                      <a:pt x="483" y="101"/>
                    </a:lnTo>
                    <a:lnTo>
                      <a:pt x="487" y="102"/>
                    </a:lnTo>
                    <a:lnTo>
                      <a:pt x="490" y="106"/>
                    </a:lnTo>
                    <a:lnTo>
                      <a:pt x="487" y="109"/>
                    </a:lnTo>
                    <a:lnTo>
                      <a:pt x="485" y="114"/>
                    </a:lnTo>
                    <a:lnTo>
                      <a:pt x="482" y="117"/>
                    </a:lnTo>
                    <a:lnTo>
                      <a:pt x="485" y="117"/>
                    </a:lnTo>
                    <a:lnTo>
                      <a:pt x="490" y="116"/>
                    </a:lnTo>
                    <a:lnTo>
                      <a:pt x="495" y="117"/>
                    </a:lnTo>
                    <a:lnTo>
                      <a:pt x="499" y="123"/>
                    </a:lnTo>
                    <a:lnTo>
                      <a:pt x="504" y="119"/>
                    </a:lnTo>
                    <a:lnTo>
                      <a:pt x="505" y="114"/>
                    </a:lnTo>
                    <a:lnTo>
                      <a:pt x="512" y="114"/>
                    </a:lnTo>
                    <a:lnTo>
                      <a:pt x="517" y="114"/>
                    </a:lnTo>
                    <a:lnTo>
                      <a:pt x="521" y="112"/>
                    </a:lnTo>
                    <a:lnTo>
                      <a:pt x="524" y="114"/>
                    </a:lnTo>
                    <a:lnTo>
                      <a:pt x="524" y="117"/>
                    </a:lnTo>
                    <a:lnTo>
                      <a:pt x="522" y="121"/>
                    </a:lnTo>
                    <a:lnTo>
                      <a:pt x="521" y="126"/>
                    </a:lnTo>
                    <a:lnTo>
                      <a:pt x="517" y="131"/>
                    </a:lnTo>
                    <a:lnTo>
                      <a:pt x="512" y="138"/>
                    </a:lnTo>
                    <a:lnTo>
                      <a:pt x="511" y="141"/>
                    </a:lnTo>
                    <a:lnTo>
                      <a:pt x="511" y="145"/>
                    </a:lnTo>
                    <a:lnTo>
                      <a:pt x="507" y="150"/>
                    </a:lnTo>
                    <a:lnTo>
                      <a:pt x="504" y="150"/>
                    </a:lnTo>
                    <a:lnTo>
                      <a:pt x="504" y="153"/>
                    </a:lnTo>
                    <a:lnTo>
                      <a:pt x="500" y="158"/>
                    </a:lnTo>
                    <a:lnTo>
                      <a:pt x="499" y="162"/>
                    </a:lnTo>
                    <a:lnTo>
                      <a:pt x="500" y="165"/>
                    </a:lnTo>
                    <a:lnTo>
                      <a:pt x="504" y="167"/>
                    </a:lnTo>
                    <a:lnTo>
                      <a:pt x="507" y="170"/>
                    </a:lnTo>
                    <a:lnTo>
                      <a:pt x="511" y="173"/>
                    </a:lnTo>
                    <a:lnTo>
                      <a:pt x="509" y="179"/>
                    </a:lnTo>
                    <a:lnTo>
                      <a:pt x="512" y="182"/>
                    </a:lnTo>
                    <a:lnTo>
                      <a:pt x="517" y="185"/>
                    </a:lnTo>
                    <a:lnTo>
                      <a:pt x="517" y="190"/>
                    </a:lnTo>
                    <a:lnTo>
                      <a:pt x="517" y="194"/>
                    </a:lnTo>
                    <a:lnTo>
                      <a:pt x="517" y="199"/>
                    </a:lnTo>
                    <a:lnTo>
                      <a:pt x="521" y="202"/>
                    </a:lnTo>
                    <a:lnTo>
                      <a:pt x="526" y="206"/>
                    </a:lnTo>
                    <a:lnTo>
                      <a:pt x="529" y="207"/>
                    </a:lnTo>
                    <a:lnTo>
                      <a:pt x="533" y="209"/>
                    </a:lnTo>
                    <a:lnTo>
                      <a:pt x="536" y="209"/>
                    </a:lnTo>
                    <a:lnTo>
                      <a:pt x="541" y="216"/>
                    </a:lnTo>
                    <a:lnTo>
                      <a:pt x="545" y="219"/>
                    </a:lnTo>
                    <a:lnTo>
                      <a:pt x="548" y="223"/>
                    </a:lnTo>
                    <a:lnTo>
                      <a:pt x="553" y="223"/>
                    </a:lnTo>
                    <a:lnTo>
                      <a:pt x="558" y="219"/>
                    </a:lnTo>
                    <a:lnTo>
                      <a:pt x="563" y="223"/>
                    </a:lnTo>
                    <a:lnTo>
                      <a:pt x="567" y="223"/>
                    </a:lnTo>
                    <a:lnTo>
                      <a:pt x="568" y="226"/>
                    </a:lnTo>
                    <a:lnTo>
                      <a:pt x="575" y="228"/>
                    </a:lnTo>
                    <a:lnTo>
                      <a:pt x="579" y="228"/>
                    </a:lnTo>
                    <a:lnTo>
                      <a:pt x="579" y="233"/>
                    </a:lnTo>
                    <a:lnTo>
                      <a:pt x="584" y="236"/>
                    </a:lnTo>
                    <a:lnTo>
                      <a:pt x="587" y="238"/>
                    </a:lnTo>
                    <a:lnTo>
                      <a:pt x="592" y="238"/>
                    </a:lnTo>
                    <a:lnTo>
                      <a:pt x="599" y="238"/>
                    </a:lnTo>
                    <a:lnTo>
                      <a:pt x="604" y="240"/>
                    </a:lnTo>
                    <a:lnTo>
                      <a:pt x="608" y="240"/>
                    </a:lnTo>
                    <a:lnTo>
                      <a:pt x="609" y="245"/>
                    </a:lnTo>
                    <a:lnTo>
                      <a:pt x="613" y="243"/>
                    </a:lnTo>
                    <a:lnTo>
                      <a:pt x="619" y="241"/>
                    </a:lnTo>
                    <a:lnTo>
                      <a:pt x="623" y="241"/>
                    </a:lnTo>
                    <a:lnTo>
                      <a:pt x="628" y="240"/>
                    </a:lnTo>
                    <a:lnTo>
                      <a:pt x="633" y="236"/>
                    </a:lnTo>
                    <a:lnTo>
                      <a:pt x="636" y="240"/>
                    </a:lnTo>
                    <a:lnTo>
                      <a:pt x="640" y="243"/>
                    </a:lnTo>
                    <a:lnTo>
                      <a:pt x="643" y="246"/>
                    </a:lnTo>
                    <a:lnTo>
                      <a:pt x="643" y="243"/>
                    </a:lnTo>
                    <a:lnTo>
                      <a:pt x="647" y="238"/>
                    </a:lnTo>
                    <a:lnTo>
                      <a:pt x="650" y="236"/>
                    </a:lnTo>
                    <a:lnTo>
                      <a:pt x="653" y="238"/>
                    </a:lnTo>
                    <a:lnTo>
                      <a:pt x="657" y="240"/>
                    </a:lnTo>
                    <a:lnTo>
                      <a:pt x="664" y="235"/>
                    </a:lnTo>
                    <a:lnTo>
                      <a:pt x="669" y="236"/>
                    </a:lnTo>
                    <a:lnTo>
                      <a:pt x="674" y="236"/>
                    </a:lnTo>
                    <a:lnTo>
                      <a:pt x="677" y="240"/>
                    </a:lnTo>
                    <a:lnTo>
                      <a:pt x="679" y="243"/>
                    </a:lnTo>
                    <a:lnTo>
                      <a:pt x="686" y="250"/>
                    </a:lnTo>
                    <a:lnTo>
                      <a:pt x="688" y="253"/>
                    </a:lnTo>
                    <a:lnTo>
                      <a:pt x="684" y="257"/>
                    </a:lnTo>
                    <a:lnTo>
                      <a:pt x="681" y="253"/>
                    </a:lnTo>
                    <a:lnTo>
                      <a:pt x="677" y="257"/>
                    </a:lnTo>
                    <a:lnTo>
                      <a:pt x="679" y="263"/>
                    </a:lnTo>
                    <a:lnTo>
                      <a:pt x="674" y="265"/>
                    </a:lnTo>
                    <a:lnTo>
                      <a:pt x="676" y="262"/>
                    </a:lnTo>
                    <a:lnTo>
                      <a:pt x="674" y="257"/>
                    </a:lnTo>
                    <a:lnTo>
                      <a:pt x="674" y="253"/>
                    </a:lnTo>
                    <a:lnTo>
                      <a:pt x="672" y="246"/>
                    </a:lnTo>
                    <a:lnTo>
                      <a:pt x="670" y="250"/>
                    </a:lnTo>
                    <a:lnTo>
                      <a:pt x="670" y="257"/>
                    </a:lnTo>
                    <a:lnTo>
                      <a:pt x="670" y="260"/>
                    </a:lnTo>
                    <a:lnTo>
                      <a:pt x="665" y="265"/>
                    </a:lnTo>
                    <a:lnTo>
                      <a:pt x="660" y="265"/>
                    </a:lnTo>
                    <a:lnTo>
                      <a:pt x="657" y="263"/>
                    </a:lnTo>
                    <a:lnTo>
                      <a:pt x="657" y="267"/>
                    </a:lnTo>
                    <a:lnTo>
                      <a:pt x="653" y="274"/>
                    </a:lnTo>
                    <a:lnTo>
                      <a:pt x="647" y="275"/>
                    </a:lnTo>
                    <a:lnTo>
                      <a:pt x="642" y="279"/>
                    </a:lnTo>
                    <a:lnTo>
                      <a:pt x="643" y="282"/>
                    </a:lnTo>
                    <a:lnTo>
                      <a:pt x="647" y="284"/>
                    </a:lnTo>
                    <a:lnTo>
                      <a:pt x="648" y="289"/>
                    </a:lnTo>
                    <a:lnTo>
                      <a:pt x="645" y="292"/>
                    </a:lnTo>
                    <a:lnTo>
                      <a:pt x="645" y="296"/>
                    </a:lnTo>
                    <a:lnTo>
                      <a:pt x="642" y="301"/>
                    </a:lnTo>
                    <a:lnTo>
                      <a:pt x="638" y="306"/>
                    </a:lnTo>
                    <a:lnTo>
                      <a:pt x="636" y="311"/>
                    </a:lnTo>
                    <a:lnTo>
                      <a:pt x="635" y="316"/>
                    </a:lnTo>
                    <a:lnTo>
                      <a:pt x="628" y="318"/>
                    </a:lnTo>
                    <a:lnTo>
                      <a:pt x="623" y="318"/>
                    </a:lnTo>
                    <a:lnTo>
                      <a:pt x="619" y="324"/>
                    </a:lnTo>
                    <a:lnTo>
                      <a:pt x="619" y="328"/>
                    </a:lnTo>
                    <a:lnTo>
                      <a:pt x="623" y="331"/>
                    </a:lnTo>
                    <a:lnTo>
                      <a:pt x="630" y="335"/>
                    </a:lnTo>
                    <a:lnTo>
                      <a:pt x="633" y="336"/>
                    </a:lnTo>
                    <a:lnTo>
                      <a:pt x="633" y="340"/>
                    </a:lnTo>
                    <a:lnTo>
                      <a:pt x="628" y="341"/>
                    </a:lnTo>
                    <a:lnTo>
                      <a:pt x="625" y="341"/>
                    </a:lnTo>
                    <a:lnTo>
                      <a:pt x="621" y="345"/>
                    </a:lnTo>
                    <a:lnTo>
                      <a:pt x="619" y="352"/>
                    </a:lnTo>
                    <a:lnTo>
                      <a:pt x="614" y="352"/>
                    </a:lnTo>
                    <a:lnTo>
                      <a:pt x="611" y="352"/>
                    </a:lnTo>
                    <a:lnTo>
                      <a:pt x="608" y="355"/>
                    </a:lnTo>
                    <a:lnTo>
                      <a:pt x="602" y="358"/>
                    </a:lnTo>
                    <a:lnTo>
                      <a:pt x="606" y="365"/>
                    </a:lnTo>
                    <a:lnTo>
                      <a:pt x="609" y="365"/>
                    </a:lnTo>
                    <a:lnTo>
                      <a:pt x="614" y="363"/>
                    </a:lnTo>
                    <a:lnTo>
                      <a:pt x="616" y="367"/>
                    </a:lnTo>
                    <a:lnTo>
                      <a:pt x="616" y="370"/>
                    </a:lnTo>
                    <a:lnTo>
                      <a:pt x="616" y="375"/>
                    </a:lnTo>
                    <a:lnTo>
                      <a:pt x="621" y="375"/>
                    </a:lnTo>
                    <a:lnTo>
                      <a:pt x="625" y="375"/>
                    </a:lnTo>
                    <a:lnTo>
                      <a:pt x="628" y="377"/>
                    </a:lnTo>
                    <a:lnTo>
                      <a:pt x="631" y="382"/>
                    </a:lnTo>
                    <a:lnTo>
                      <a:pt x="633" y="389"/>
                    </a:lnTo>
                    <a:lnTo>
                      <a:pt x="633" y="394"/>
                    </a:lnTo>
                    <a:lnTo>
                      <a:pt x="630" y="397"/>
                    </a:lnTo>
                    <a:lnTo>
                      <a:pt x="633" y="401"/>
                    </a:lnTo>
                    <a:lnTo>
                      <a:pt x="636" y="404"/>
                    </a:lnTo>
                    <a:lnTo>
                      <a:pt x="643" y="406"/>
                    </a:lnTo>
                    <a:lnTo>
                      <a:pt x="647" y="401"/>
                    </a:lnTo>
                    <a:lnTo>
                      <a:pt x="648" y="394"/>
                    </a:lnTo>
                    <a:lnTo>
                      <a:pt x="653" y="399"/>
                    </a:lnTo>
                    <a:lnTo>
                      <a:pt x="652" y="404"/>
                    </a:lnTo>
                    <a:lnTo>
                      <a:pt x="648" y="406"/>
                    </a:lnTo>
                    <a:lnTo>
                      <a:pt x="645" y="407"/>
                    </a:lnTo>
                    <a:lnTo>
                      <a:pt x="642" y="409"/>
                    </a:lnTo>
                    <a:lnTo>
                      <a:pt x="638" y="413"/>
                    </a:lnTo>
                    <a:lnTo>
                      <a:pt x="635" y="416"/>
                    </a:lnTo>
                    <a:lnTo>
                      <a:pt x="631" y="416"/>
                    </a:lnTo>
                    <a:lnTo>
                      <a:pt x="625" y="421"/>
                    </a:lnTo>
                    <a:lnTo>
                      <a:pt x="621" y="423"/>
                    </a:lnTo>
                    <a:lnTo>
                      <a:pt x="618" y="419"/>
                    </a:lnTo>
                    <a:lnTo>
                      <a:pt x="613" y="418"/>
                    </a:lnTo>
                    <a:lnTo>
                      <a:pt x="609" y="418"/>
                    </a:lnTo>
                    <a:lnTo>
                      <a:pt x="608" y="421"/>
                    </a:lnTo>
                    <a:lnTo>
                      <a:pt x="609" y="424"/>
                    </a:lnTo>
                    <a:lnTo>
                      <a:pt x="609" y="430"/>
                    </a:lnTo>
                    <a:lnTo>
                      <a:pt x="608" y="433"/>
                    </a:lnTo>
                    <a:lnTo>
                      <a:pt x="606" y="436"/>
                    </a:lnTo>
                    <a:lnTo>
                      <a:pt x="604" y="440"/>
                    </a:lnTo>
                    <a:lnTo>
                      <a:pt x="601" y="443"/>
                    </a:lnTo>
                    <a:lnTo>
                      <a:pt x="596" y="443"/>
                    </a:lnTo>
                    <a:lnTo>
                      <a:pt x="592" y="446"/>
                    </a:lnTo>
                    <a:lnTo>
                      <a:pt x="585" y="450"/>
                    </a:lnTo>
                    <a:lnTo>
                      <a:pt x="582" y="452"/>
                    </a:lnTo>
                    <a:lnTo>
                      <a:pt x="580" y="457"/>
                    </a:lnTo>
                    <a:lnTo>
                      <a:pt x="580" y="460"/>
                    </a:lnTo>
                    <a:lnTo>
                      <a:pt x="579" y="463"/>
                    </a:lnTo>
                    <a:lnTo>
                      <a:pt x="582" y="474"/>
                    </a:lnTo>
                    <a:lnTo>
                      <a:pt x="582" y="477"/>
                    </a:lnTo>
                    <a:lnTo>
                      <a:pt x="584" y="482"/>
                    </a:lnTo>
                    <a:lnTo>
                      <a:pt x="585" y="485"/>
                    </a:lnTo>
                    <a:lnTo>
                      <a:pt x="589" y="485"/>
                    </a:lnTo>
                    <a:lnTo>
                      <a:pt x="592" y="482"/>
                    </a:lnTo>
                    <a:lnTo>
                      <a:pt x="596" y="485"/>
                    </a:lnTo>
                    <a:lnTo>
                      <a:pt x="596" y="489"/>
                    </a:lnTo>
                    <a:lnTo>
                      <a:pt x="594" y="492"/>
                    </a:lnTo>
                    <a:lnTo>
                      <a:pt x="594" y="497"/>
                    </a:lnTo>
                    <a:lnTo>
                      <a:pt x="592" y="502"/>
                    </a:lnTo>
                    <a:lnTo>
                      <a:pt x="592" y="506"/>
                    </a:lnTo>
                    <a:lnTo>
                      <a:pt x="592" y="509"/>
                    </a:lnTo>
                    <a:lnTo>
                      <a:pt x="591" y="514"/>
                    </a:lnTo>
                    <a:lnTo>
                      <a:pt x="589" y="518"/>
                    </a:lnTo>
                    <a:lnTo>
                      <a:pt x="589" y="521"/>
                    </a:lnTo>
                    <a:lnTo>
                      <a:pt x="591" y="525"/>
                    </a:lnTo>
                    <a:lnTo>
                      <a:pt x="589" y="528"/>
                    </a:lnTo>
                    <a:lnTo>
                      <a:pt x="587" y="531"/>
                    </a:lnTo>
                    <a:lnTo>
                      <a:pt x="585" y="536"/>
                    </a:lnTo>
                    <a:lnTo>
                      <a:pt x="585" y="540"/>
                    </a:lnTo>
                    <a:lnTo>
                      <a:pt x="591" y="541"/>
                    </a:lnTo>
                    <a:lnTo>
                      <a:pt x="592" y="545"/>
                    </a:lnTo>
                    <a:lnTo>
                      <a:pt x="592" y="548"/>
                    </a:lnTo>
                    <a:lnTo>
                      <a:pt x="592" y="552"/>
                    </a:lnTo>
                    <a:lnTo>
                      <a:pt x="589" y="552"/>
                    </a:lnTo>
                    <a:lnTo>
                      <a:pt x="585" y="552"/>
                    </a:lnTo>
                    <a:lnTo>
                      <a:pt x="584" y="555"/>
                    </a:lnTo>
                    <a:lnTo>
                      <a:pt x="580" y="558"/>
                    </a:lnTo>
                    <a:lnTo>
                      <a:pt x="575" y="562"/>
                    </a:lnTo>
                    <a:lnTo>
                      <a:pt x="577" y="565"/>
                    </a:lnTo>
                    <a:lnTo>
                      <a:pt x="568" y="565"/>
                    </a:lnTo>
                    <a:lnTo>
                      <a:pt x="565" y="564"/>
                    </a:lnTo>
                    <a:lnTo>
                      <a:pt x="560" y="569"/>
                    </a:lnTo>
                    <a:lnTo>
                      <a:pt x="557" y="569"/>
                    </a:lnTo>
                    <a:lnTo>
                      <a:pt x="557" y="574"/>
                    </a:lnTo>
                    <a:lnTo>
                      <a:pt x="555" y="577"/>
                    </a:lnTo>
                    <a:lnTo>
                      <a:pt x="551" y="574"/>
                    </a:lnTo>
                    <a:lnTo>
                      <a:pt x="546" y="570"/>
                    </a:lnTo>
                    <a:lnTo>
                      <a:pt x="543" y="574"/>
                    </a:lnTo>
                    <a:lnTo>
                      <a:pt x="541" y="577"/>
                    </a:lnTo>
                    <a:lnTo>
                      <a:pt x="540" y="582"/>
                    </a:lnTo>
                    <a:lnTo>
                      <a:pt x="543" y="586"/>
                    </a:lnTo>
                    <a:lnTo>
                      <a:pt x="546" y="589"/>
                    </a:lnTo>
                    <a:lnTo>
                      <a:pt x="548" y="592"/>
                    </a:lnTo>
                    <a:lnTo>
                      <a:pt x="551" y="594"/>
                    </a:lnTo>
                    <a:lnTo>
                      <a:pt x="555" y="594"/>
                    </a:lnTo>
                    <a:lnTo>
                      <a:pt x="558" y="597"/>
                    </a:lnTo>
                    <a:lnTo>
                      <a:pt x="555" y="603"/>
                    </a:lnTo>
                    <a:lnTo>
                      <a:pt x="553" y="609"/>
                    </a:lnTo>
                    <a:lnTo>
                      <a:pt x="548" y="611"/>
                    </a:lnTo>
                    <a:lnTo>
                      <a:pt x="550" y="616"/>
                    </a:lnTo>
                    <a:lnTo>
                      <a:pt x="550" y="619"/>
                    </a:lnTo>
                    <a:lnTo>
                      <a:pt x="550" y="623"/>
                    </a:lnTo>
                    <a:lnTo>
                      <a:pt x="555" y="625"/>
                    </a:lnTo>
                    <a:lnTo>
                      <a:pt x="557" y="628"/>
                    </a:lnTo>
                    <a:lnTo>
                      <a:pt x="555" y="633"/>
                    </a:lnTo>
                    <a:lnTo>
                      <a:pt x="551" y="633"/>
                    </a:lnTo>
                    <a:lnTo>
                      <a:pt x="548" y="636"/>
                    </a:lnTo>
                    <a:lnTo>
                      <a:pt x="545" y="635"/>
                    </a:lnTo>
                    <a:lnTo>
                      <a:pt x="541" y="640"/>
                    </a:lnTo>
                    <a:lnTo>
                      <a:pt x="538" y="643"/>
                    </a:lnTo>
                    <a:lnTo>
                      <a:pt x="534" y="645"/>
                    </a:lnTo>
                    <a:lnTo>
                      <a:pt x="529" y="648"/>
                    </a:lnTo>
                    <a:lnTo>
                      <a:pt x="524" y="650"/>
                    </a:lnTo>
                    <a:lnTo>
                      <a:pt x="526" y="653"/>
                    </a:lnTo>
                    <a:lnTo>
                      <a:pt x="521" y="657"/>
                    </a:lnTo>
                    <a:lnTo>
                      <a:pt x="517" y="658"/>
                    </a:lnTo>
                    <a:lnTo>
                      <a:pt x="512" y="662"/>
                    </a:lnTo>
                    <a:lnTo>
                      <a:pt x="507" y="664"/>
                    </a:lnTo>
                    <a:lnTo>
                      <a:pt x="504" y="660"/>
                    </a:lnTo>
                    <a:lnTo>
                      <a:pt x="499" y="660"/>
                    </a:lnTo>
                    <a:lnTo>
                      <a:pt x="499" y="670"/>
                    </a:lnTo>
                    <a:lnTo>
                      <a:pt x="495" y="674"/>
                    </a:lnTo>
                    <a:lnTo>
                      <a:pt x="494" y="677"/>
                    </a:lnTo>
                    <a:lnTo>
                      <a:pt x="494" y="681"/>
                    </a:lnTo>
                    <a:lnTo>
                      <a:pt x="499" y="682"/>
                    </a:lnTo>
                    <a:lnTo>
                      <a:pt x="502" y="687"/>
                    </a:lnTo>
                    <a:lnTo>
                      <a:pt x="507" y="687"/>
                    </a:lnTo>
                    <a:lnTo>
                      <a:pt x="509" y="691"/>
                    </a:lnTo>
                    <a:lnTo>
                      <a:pt x="509" y="696"/>
                    </a:lnTo>
                    <a:lnTo>
                      <a:pt x="509" y="703"/>
                    </a:lnTo>
                    <a:lnTo>
                      <a:pt x="509" y="706"/>
                    </a:lnTo>
                    <a:lnTo>
                      <a:pt x="505" y="708"/>
                    </a:lnTo>
                    <a:lnTo>
                      <a:pt x="500" y="708"/>
                    </a:lnTo>
                    <a:lnTo>
                      <a:pt x="494" y="708"/>
                    </a:lnTo>
                    <a:lnTo>
                      <a:pt x="487" y="708"/>
                    </a:lnTo>
                    <a:lnTo>
                      <a:pt x="483" y="709"/>
                    </a:lnTo>
                    <a:lnTo>
                      <a:pt x="480" y="708"/>
                    </a:lnTo>
                    <a:lnTo>
                      <a:pt x="475" y="708"/>
                    </a:lnTo>
                    <a:lnTo>
                      <a:pt x="473" y="711"/>
                    </a:lnTo>
                    <a:lnTo>
                      <a:pt x="473" y="716"/>
                    </a:lnTo>
                    <a:lnTo>
                      <a:pt x="468" y="720"/>
                    </a:lnTo>
                    <a:lnTo>
                      <a:pt x="466" y="723"/>
                    </a:lnTo>
                    <a:lnTo>
                      <a:pt x="466" y="728"/>
                    </a:lnTo>
                    <a:lnTo>
                      <a:pt x="463" y="728"/>
                    </a:lnTo>
                    <a:lnTo>
                      <a:pt x="458" y="726"/>
                    </a:lnTo>
                    <a:lnTo>
                      <a:pt x="453" y="725"/>
                    </a:lnTo>
                    <a:lnTo>
                      <a:pt x="449" y="725"/>
                    </a:lnTo>
                    <a:lnTo>
                      <a:pt x="443" y="723"/>
                    </a:lnTo>
                    <a:lnTo>
                      <a:pt x="439" y="721"/>
                    </a:lnTo>
                    <a:lnTo>
                      <a:pt x="432" y="721"/>
                    </a:lnTo>
                    <a:lnTo>
                      <a:pt x="429" y="720"/>
                    </a:lnTo>
                    <a:lnTo>
                      <a:pt x="426" y="720"/>
                    </a:lnTo>
                    <a:lnTo>
                      <a:pt x="422" y="720"/>
                    </a:lnTo>
                    <a:lnTo>
                      <a:pt x="420" y="716"/>
                    </a:lnTo>
                    <a:lnTo>
                      <a:pt x="417" y="716"/>
                    </a:lnTo>
                    <a:lnTo>
                      <a:pt x="414" y="716"/>
                    </a:lnTo>
                    <a:lnTo>
                      <a:pt x="410" y="716"/>
                    </a:lnTo>
                    <a:lnTo>
                      <a:pt x="405" y="718"/>
                    </a:lnTo>
                    <a:lnTo>
                      <a:pt x="402" y="721"/>
                    </a:lnTo>
                    <a:lnTo>
                      <a:pt x="402" y="725"/>
                    </a:lnTo>
                    <a:lnTo>
                      <a:pt x="400" y="730"/>
                    </a:lnTo>
                    <a:lnTo>
                      <a:pt x="398" y="733"/>
                    </a:lnTo>
                    <a:lnTo>
                      <a:pt x="397" y="736"/>
                    </a:lnTo>
                    <a:lnTo>
                      <a:pt x="392" y="735"/>
                    </a:lnTo>
                    <a:lnTo>
                      <a:pt x="388" y="736"/>
                    </a:lnTo>
                    <a:lnTo>
                      <a:pt x="388" y="733"/>
                    </a:lnTo>
                    <a:lnTo>
                      <a:pt x="381" y="728"/>
                    </a:lnTo>
                    <a:lnTo>
                      <a:pt x="378" y="728"/>
                    </a:lnTo>
                    <a:lnTo>
                      <a:pt x="373" y="725"/>
                    </a:lnTo>
                    <a:lnTo>
                      <a:pt x="371" y="721"/>
                    </a:lnTo>
                    <a:lnTo>
                      <a:pt x="371" y="716"/>
                    </a:lnTo>
                    <a:lnTo>
                      <a:pt x="373" y="713"/>
                    </a:lnTo>
                    <a:lnTo>
                      <a:pt x="374" y="708"/>
                    </a:lnTo>
                    <a:lnTo>
                      <a:pt x="378" y="709"/>
                    </a:lnTo>
                    <a:lnTo>
                      <a:pt x="381" y="709"/>
                    </a:lnTo>
                    <a:lnTo>
                      <a:pt x="386" y="711"/>
                    </a:lnTo>
                    <a:lnTo>
                      <a:pt x="390" y="711"/>
                    </a:lnTo>
                    <a:lnTo>
                      <a:pt x="393" y="708"/>
                    </a:lnTo>
                    <a:lnTo>
                      <a:pt x="395" y="703"/>
                    </a:lnTo>
                    <a:lnTo>
                      <a:pt x="397" y="699"/>
                    </a:lnTo>
                    <a:lnTo>
                      <a:pt x="397" y="694"/>
                    </a:lnTo>
                    <a:lnTo>
                      <a:pt x="398" y="687"/>
                    </a:lnTo>
                    <a:lnTo>
                      <a:pt x="397" y="684"/>
                    </a:lnTo>
                    <a:lnTo>
                      <a:pt x="395" y="677"/>
                    </a:lnTo>
                    <a:lnTo>
                      <a:pt x="393" y="674"/>
                    </a:lnTo>
                    <a:lnTo>
                      <a:pt x="388" y="667"/>
                    </a:lnTo>
                    <a:lnTo>
                      <a:pt x="385" y="667"/>
                    </a:lnTo>
                    <a:lnTo>
                      <a:pt x="378" y="667"/>
                    </a:lnTo>
                    <a:lnTo>
                      <a:pt x="376" y="664"/>
                    </a:lnTo>
                    <a:lnTo>
                      <a:pt x="374" y="657"/>
                    </a:lnTo>
                    <a:lnTo>
                      <a:pt x="373" y="653"/>
                    </a:lnTo>
                    <a:lnTo>
                      <a:pt x="368" y="650"/>
                    </a:lnTo>
                    <a:lnTo>
                      <a:pt x="369" y="645"/>
                    </a:lnTo>
                    <a:lnTo>
                      <a:pt x="364" y="642"/>
                    </a:lnTo>
                    <a:lnTo>
                      <a:pt x="361" y="638"/>
                    </a:lnTo>
                    <a:lnTo>
                      <a:pt x="356" y="636"/>
                    </a:lnTo>
                    <a:lnTo>
                      <a:pt x="351" y="635"/>
                    </a:lnTo>
                    <a:lnTo>
                      <a:pt x="347" y="630"/>
                    </a:lnTo>
                    <a:lnTo>
                      <a:pt x="346" y="623"/>
                    </a:lnTo>
                    <a:lnTo>
                      <a:pt x="342" y="616"/>
                    </a:lnTo>
                    <a:lnTo>
                      <a:pt x="340" y="613"/>
                    </a:lnTo>
                    <a:lnTo>
                      <a:pt x="337" y="609"/>
                    </a:lnTo>
                    <a:lnTo>
                      <a:pt x="334" y="606"/>
                    </a:lnTo>
                    <a:lnTo>
                      <a:pt x="329" y="603"/>
                    </a:lnTo>
                    <a:lnTo>
                      <a:pt x="323" y="601"/>
                    </a:lnTo>
                    <a:lnTo>
                      <a:pt x="320" y="599"/>
                    </a:lnTo>
                    <a:lnTo>
                      <a:pt x="312" y="597"/>
                    </a:lnTo>
                    <a:lnTo>
                      <a:pt x="308" y="596"/>
                    </a:lnTo>
                    <a:lnTo>
                      <a:pt x="301" y="594"/>
                    </a:lnTo>
                    <a:lnTo>
                      <a:pt x="296" y="594"/>
                    </a:lnTo>
                    <a:lnTo>
                      <a:pt x="293" y="592"/>
                    </a:lnTo>
                    <a:lnTo>
                      <a:pt x="284" y="591"/>
                    </a:lnTo>
                    <a:lnTo>
                      <a:pt x="278" y="586"/>
                    </a:lnTo>
                    <a:lnTo>
                      <a:pt x="281" y="582"/>
                    </a:lnTo>
                    <a:lnTo>
                      <a:pt x="284" y="577"/>
                    </a:lnTo>
                    <a:lnTo>
                      <a:pt x="286" y="572"/>
                    </a:lnTo>
                    <a:lnTo>
                      <a:pt x="286" y="569"/>
                    </a:lnTo>
                    <a:lnTo>
                      <a:pt x="286" y="565"/>
                    </a:lnTo>
                    <a:lnTo>
                      <a:pt x="284" y="560"/>
                    </a:lnTo>
                    <a:lnTo>
                      <a:pt x="286" y="557"/>
                    </a:lnTo>
                    <a:lnTo>
                      <a:pt x="288" y="552"/>
                    </a:lnTo>
                    <a:lnTo>
                      <a:pt x="286" y="548"/>
                    </a:lnTo>
                    <a:lnTo>
                      <a:pt x="281" y="543"/>
                    </a:lnTo>
                    <a:lnTo>
                      <a:pt x="269" y="536"/>
                    </a:lnTo>
                    <a:lnTo>
                      <a:pt x="266" y="535"/>
                    </a:lnTo>
                    <a:lnTo>
                      <a:pt x="261" y="533"/>
                    </a:lnTo>
                    <a:lnTo>
                      <a:pt x="257" y="533"/>
                    </a:lnTo>
                    <a:lnTo>
                      <a:pt x="252" y="531"/>
                    </a:lnTo>
                    <a:lnTo>
                      <a:pt x="249" y="531"/>
                    </a:lnTo>
                    <a:lnTo>
                      <a:pt x="245" y="531"/>
                    </a:lnTo>
                    <a:lnTo>
                      <a:pt x="238" y="531"/>
                    </a:lnTo>
                    <a:lnTo>
                      <a:pt x="235" y="531"/>
                    </a:lnTo>
                    <a:lnTo>
                      <a:pt x="232" y="533"/>
                    </a:lnTo>
                    <a:lnTo>
                      <a:pt x="226" y="535"/>
                    </a:lnTo>
                    <a:lnTo>
                      <a:pt x="225" y="538"/>
                    </a:lnTo>
                    <a:lnTo>
                      <a:pt x="226" y="543"/>
                    </a:lnTo>
                    <a:lnTo>
                      <a:pt x="221" y="543"/>
                    </a:lnTo>
                    <a:lnTo>
                      <a:pt x="218" y="540"/>
                    </a:lnTo>
                    <a:lnTo>
                      <a:pt x="215" y="538"/>
                    </a:lnTo>
                    <a:lnTo>
                      <a:pt x="213" y="535"/>
                    </a:lnTo>
                    <a:lnTo>
                      <a:pt x="211" y="531"/>
                    </a:lnTo>
                    <a:lnTo>
                      <a:pt x="211" y="526"/>
                    </a:lnTo>
                    <a:lnTo>
                      <a:pt x="209" y="523"/>
                    </a:lnTo>
                    <a:lnTo>
                      <a:pt x="213" y="518"/>
                    </a:lnTo>
                    <a:lnTo>
                      <a:pt x="216" y="519"/>
                    </a:lnTo>
                    <a:lnTo>
                      <a:pt x="218" y="516"/>
                    </a:lnTo>
                    <a:lnTo>
                      <a:pt x="216" y="511"/>
                    </a:lnTo>
                    <a:lnTo>
                      <a:pt x="221" y="499"/>
                    </a:lnTo>
                    <a:lnTo>
                      <a:pt x="221" y="494"/>
                    </a:lnTo>
                    <a:lnTo>
                      <a:pt x="223" y="485"/>
                    </a:lnTo>
                    <a:lnTo>
                      <a:pt x="223" y="480"/>
                    </a:lnTo>
                    <a:lnTo>
                      <a:pt x="223" y="477"/>
                    </a:lnTo>
                    <a:lnTo>
                      <a:pt x="223" y="472"/>
                    </a:lnTo>
                    <a:lnTo>
                      <a:pt x="223" y="469"/>
                    </a:lnTo>
                    <a:lnTo>
                      <a:pt x="223" y="463"/>
                    </a:lnTo>
                    <a:lnTo>
                      <a:pt x="223" y="457"/>
                    </a:lnTo>
                    <a:lnTo>
                      <a:pt x="221" y="452"/>
                    </a:lnTo>
                    <a:lnTo>
                      <a:pt x="221" y="446"/>
                    </a:lnTo>
                    <a:lnTo>
                      <a:pt x="221" y="441"/>
                    </a:lnTo>
                    <a:lnTo>
                      <a:pt x="220" y="438"/>
                    </a:lnTo>
                    <a:lnTo>
                      <a:pt x="220" y="435"/>
                    </a:lnTo>
                    <a:lnTo>
                      <a:pt x="218" y="426"/>
                    </a:lnTo>
                    <a:lnTo>
                      <a:pt x="215" y="419"/>
                    </a:lnTo>
                    <a:lnTo>
                      <a:pt x="215" y="416"/>
                    </a:lnTo>
                    <a:lnTo>
                      <a:pt x="208" y="409"/>
                    </a:lnTo>
                    <a:lnTo>
                      <a:pt x="204" y="406"/>
                    </a:lnTo>
                    <a:lnTo>
                      <a:pt x="201" y="404"/>
                    </a:lnTo>
                    <a:lnTo>
                      <a:pt x="201" y="401"/>
                    </a:lnTo>
                    <a:lnTo>
                      <a:pt x="201" y="396"/>
                    </a:lnTo>
                    <a:lnTo>
                      <a:pt x="199" y="392"/>
                    </a:lnTo>
                    <a:lnTo>
                      <a:pt x="198" y="389"/>
                    </a:lnTo>
                    <a:lnTo>
                      <a:pt x="196" y="384"/>
                    </a:lnTo>
                    <a:lnTo>
                      <a:pt x="192" y="377"/>
                    </a:lnTo>
                    <a:lnTo>
                      <a:pt x="187" y="375"/>
                    </a:lnTo>
                    <a:lnTo>
                      <a:pt x="184" y="367"/>
                    </a:lnTo>
                    <a:lnTo>
                      <a:pt x="181" y="360"/>
                    </a:lnTo>
                    <a:lnTo>
                      <a:pt x="177" y="355"/>
                    </a:lnTo>
                    <a:lnTo>
                      <a:pt x="172" y="353"/>
                    </a:lnTo>
                    <a:lnTo>
                      <a:pt x="167" y="350"/>
                    </a:lnTo>
                    <a:lnTo>
                      <a:pt x="167" y="346"/>
                    </a:lnTo>
                    <a:lnTo>
                      <a:pt x="165" y="343"/>
                    </a:lnTo>
                    <a:lnTo>
                      <a:pt x="164" y="338"/>
                    </a:lnTo>
                    <a:lnTo>
                      <a:pt x="162" y="333"/>
                    </a:lnTo>
                    <a:lnTo>
                      <a:pt x="158" y="329"/>
                    </a:lnTo>
                    <a:lnTo>
                      <a:pt x="160" y="326"/>
                    </a:lnTo>
                    <a:lnTo>
                      <a:pt x="160" y="319"/>
                    </a:lnTo>
                    <a:lnTo>
                      <a:pt x="164" y="316"/>
                    </a:lnTo>
                    <a:lnTo>
                      <a:pt x="164" y="311"/>
                    </a:lnTo>
                    <a:lnTo>
                      <a:pt x="164" y="314"/>
                    </a:lnTo>
                    <a:lnTo>
                      <a:pt x="160" y="318"/>
                    </a:lnTo>
                    <a:lnTo>
                      <a:pt x="158" y="313"/>
                    </a:lnTo>
                    <a:lnTo>
                      <a:pt x="157" y="309"/>
                    </a:lnTo>
                    <a:lnTo>
                      <a:pt x="157" y="306"/>
                    </a:lnTo>
                    <a:lnTo>
                      <a:pt x="157" y="302"/>
                    </a:lnTo>
                    <a:lnTo>
                      <a:pt x="155" y="297"/>
                    </a:lnTo>
                    <a:lnTo>
                      <a:pt x="155" y="294"/>
                    </a:lnTo>
                    <a:lnTo>
                      <a:pt x="153" y="287"/>
                    </a:lnTo>
                    <a:lnTo>
                      <a:pt x="150" y="280"/>
                    </a:lnTo>
                    <a:lnTo>
                      <a:pt x="153" y="277"/>
                    </a:lnTo>
                    <a:lnTo>
                      <a:pt x="153" y="270"/>
                    </a:lnTo>
                    <a:lnTo>
                      <a:pt x="152" y="265"/>
                    </a:lnTo>
                    <a:lnTo>
                      <a:pt x="153" y="258"/>
                    </a:lnTo>
                    <a:lnTo>
                      <a:pt x="152" y="253"/>
                    </a:lnTo>
                    <a:lnTo>
                      <a:pt x="150" y="250"/>
                    </a:lnTo>
                    <a:lnTo>
                      <a:pt x="150" y="243"/>
                    </a:lnTo>
                    <a:lnTo>
                      <a:pt x="148" y="240"/>
                    </a:lnTo>
                    <a:lnTo>
                      <a:pt x="148" y="235"/>
                    </a:lnTo>
                    <a:lnTo>
                      <a:pt x="147" y="231"/>
                    </a:lnTo>
                    <a:lnTo>
                      <a:pt x="147" y="226"/>
                    </a:lnTo>
                    <a:lnTo>
                      <a:pt x="143" y="218"/>
                    </a:lnTo>
                    <a:lnTo>
                      <a:pt x="141" y="212"/>
                    </a:lnTo>
                    <a:lnTo>
                      <a:pt x="140" y="207"/>
                    </a:lnTo>
                    <a:lnTo>
                      <a:pt x="138" y="204"/>
                    </a:lnTo>
                    <a:lnTo>
                      <a:pt x="135" y="197"/>
                    </a:lnTo>
                    <a:lnTo>
                      <a:pt x="130" y="189"/>
                    </a:lnTo>
                    <a:lnTo>
                      <a:pt x="123" y="182"/>
                    </a:lnTo>
                    <a:lnTo>
                      <a:pt x="119" y="177"/>
                    </a:lnTo>
                    <a:lnTo>
                      <a:pt x="116" y="173"/>
                    </a:lnTo>
                    <a:lnTo>
                      <a:pt x="109" y="168"/>
                    </a:lnTo>
                    <a:lnTo>
                      <a:pt x="104" y="162"/>
                    </a:lnTo>
                    <a:lnTo>
                      <a:pt x="97" y="156"/>
                    </a:lnTo>
                    <a:lnTo>
                      <a:pt x="87" y="151"/>
                    </a:lnTo>
                    <a:lnTo>
                      <a:pt x="87" y="146"/>
                    </a:lnTo>
                    <a:lnTo>
                      <a:pt x="92" y="141"/>
                    </a:lnTo>
                    <a:lnTo>
                      <a:pt x="95" y="138"/>
                    </a:lnTo>
                    <a:lnTo>
                      <a:pt x="99" y="134"/>
                    </a:lnTo>
                    <a:lnTo>
                      <a:pt x="95" y="128"/>
                    </a:lnTo>
                    <a:lnTo>
                      <a:pt x="89" y="124"/>
                    </a:lnTo>
                    <a:lnTo>
                      <a:pt x="85" y="124"/>
                    </a:lnTo>
                    <a:lnTo>
                      <a:pt x="82" y="128"/>
                    </a:lnTo>
                    <a:lnTo>
                      <a:pt x="78" y="131"/>
                    </a:lnTo>
                    <a:lnTo>
                      <a:pt x="75" y="131"/>
                    </a:lnTo>
                    <a:lnTo>
                      <a:pt x="78" y="126"/>
                    </a:lnTo>
                    <a:lnTo>
                      <a:pt x="73" y="117"/>
                    </a:lnTo>
                    <a:lnTo>
                      <a:pt x="73" y="114"/>
                    </a:lnTo>
                    <a:lnTo>
                      <a:pt x="75" y="111"/>
                    </a:lnTo>
                    <a:lnTo>
                      <a:pt x="70" y="107"/>
                    </a:lnTo>
                    <a:lnTo>
                      <a:pt x="65" y="107"/>
                    </a:lnTo>
                    <a:lnTo>
                      <a:pt x="61" y="109"/>
                    </a:lnTo>
                    <a:lnTo>
                      <a:pt x="58" y="107"/>
                    </a:lnTo>
                    <a:lnTo>
                      <a:pt x="55" y="109"/>
                    </a:lnTo>
                    <a:lnTo>
                      <a:pt x="55" y="106"/>
                    </a:lnTo>
                    <a:lnTo>
                      <a:pt x="60" y="101"/>
                    </a:lnTo>
                    <a:lnTo>
                      <a:pt x="61" y="97"/>
                    </a:lnTo>
                    <a:lnTo>
                      <a:pt x="56" y="95"/>
                    </a:lnTo>
                    <a:lnTo>
                      <a:pt x="53" y="94"/>
                    </a:lnTo>
                    <a:lnTo>
                      <a:pt x="50" y="97"/>
                    </a:lnTo>
                    <a:lnTo>
                      <a:pt x="48" y="101"/>
                    </a:lnTo>
                    <a:lnTo>
                      <a:pt x="43" y="99"/>
                    </a:lnTo>
                    <a:lnTo>
                      <a:pt x="46" y="94"/>
                    </a:lnTo>
                    <a:lnTo>
                      <a:pt x="48" y="89"/>
                    </a:lnTo>
                    <a:lnTo>
                      <a:pt x="44" y="87"/>
                    </a:lnTo>
                    <a:lnTo>
                      <a:pt x="44" y="84"/>
                    </a:lnTo>
                    <a:lnTo>
                      <a:pt x="44" y="78"/>
                    </a:lnTo>
                    <a:lnTo>
                      <a:pt x="43" y="75"/>
                    </a:lnTo>
                    <a:lnTo>
                      <a:pt x="38" y="72"/>
                    </a:lnTo>
                    <a:lnTo>
                      <a:pt x="34" y="68"/>
                    </a:lnTo>
                    <a:lnTo>
                      <a:pt x="31" y="68"/>
                    </a:lnTo>
                    <a:lnTo>
                      <a:pt x="26" y="65"/>
                    </a:lnTo>
                    <a:lnTo>
                      <a:pt x="22" y="62"/>
                    </a:lnTo>
                    <a:lnTo>
                      <a:pt x="19" y="56"/>
                    </a:lnTo>
                    <a:lnTo>
                      <a:pt x="14" y="53"/>
                    </a:lnTo>
                    <a:lnTo>
                      <a:pt x="10" y="53"/>
                    </a:lnTo>
                    <a:lnTo>
                      <a:pt x="7" y="45"/>
                    </a:lnTo>
                    <a:lnTo>
                      <a:pt x="5" y="39"/>
                    </a:lnTo>
                    <a:lnTo>
                      <a:pt x="0" y="39"/>
                    </a:lnTo>
                    <a:lnTo>
                      <a:pt x="7" y="33"/>
                    </a:lnTo>
                    <a:lnTo>
                      <a:pt x="10" y="34"/>
                    </a:lnTo>
                    <a:lnTo>
                      <a:pt x="14" y="33"/>
                    </a:lnTo>
                    <a:lnTo>
                      <a:pt x="17" y="29"/>
                    </a:lnTo>
                    <a:lnTo>
                      <a:pt x="16" y="26"/>
                    </a:lnTo>
                    <a:lnTo>
                      <a:pt x="21" y="21"/>
                    </a:lnTo>
                    <a:lnTo>
                      <a:pt x="24" y="17"/>
                    </a:lnTo>
                    <a:lnTo>
                      <a:pt x="27" y="12"/>
                    </a:lnTo>
                    <a:lnTo>
                      <a:pt x="31" y="9"/>
                    </a:lnTo>
                    <a:lnTo>
                      <a:pt x="31" y="6"/>
                    </a:lnTo>
                    <a:lnTo>
                      <a:pt x="41" y="2"/>
                    </a:lnTo>
                    <a:lnTo>
                      <a:pt x="44" y="2"/>
                    </a:lnTo>
                    <a:lnTo>
                      <a:pt x="50" y="2"/>
                    </a:lnTo>
                    <a:lnTo>
                      <a:pt x="53" y="0"/>
                    </a:lnTo>
                    <a:lnTo>
                      <a:pt x="55" y="2"/>
                    </a:lnTo>
                    <a:lnTo>
                      <a:pt x="58" y="2"/>
                    </a:lnTo>
                    <a:lnTo>
                      <a:pt x="67" y="2"/>
                    </a:lnTo>
                    <a:lnTo>
                      <a:pt x="72" y="4"/>
                    </a:lnTo>
                    <a:lnTo>
                      <a:pt x="72" y="7"/>
                    </a:lnTo>
                    <a:lnTo>
                      <a:pt x="75" y="11"/>
                    </a:lnTo>
                    <a:lnTo>
                      <a:pt x="78" y="12"/>
                    </a:lnTo>
                    <a:lnTo>
                      <a:pt x="78" y="19"/>
                    </a:lnTo>
                    <a:lnTo>
                      <a:pt x="77" y="23"/>
                    </a:lnTo>
                    <a:lnTo>
                      <a:pt x="78" y="26"/>
                    </a:lnTo>
                    <a:lnTo>
                      <a:pt x="82" y="29"/>
                    </a:lnTo>
                    <a:lnTo>
                      <a:pt x="85" y="33"/>
                    </a:lnTo>
                    <a:lnTo>
                      <a:pt x="89" y="34"/>
                    </a:lnTo>
                    <a:lnTo>
                      <a:pt x="94" y="36"/>
                    </a:lnTo>
                    <a:lnTo>
                      <a:pt x="97" y="39"/>
                    </a:lnTo>
                    <a:lnTo>
                      <a:pt x="102" y="43"/>
                    </a:lnTo>
                    <a:lnTo>
                      <a:pt x="106" y="43"/>
                    </a:lnTo>
                    <a:lnTo>
                      <a:pt x="109" y="43"/>
                    </a:lnTo>
                    <a:lnTo>
                      <a:pt x="114" y="43"/>
                    </a:lnTo>
                    <a:lnTo>
                      <a:pt x="119" y="46"/>
                    </a:lnTo>
                    <a:lnTo>
                      <a:pt x="121" y="50"/>
                    </a:lnTo>
                    <a:lnTo>
                      <a:pt x="126" y="53"/>
                    </a:lnTo>
                    <a:lnTo>
                      <a:pt x="130" y="55"/>
                    </a:lnTo>
                    <a:lnTo>
                      <a:pt x="131" y="60"/>
                    </a:lnTo>
                    <a:lnTo>
                      <a:pt x="136" y="60"/>
                    </a:lnTo>
                    <a:lnTo>
                      <a:pt x="138" y="65"/>
                    </a:lnTo>
                    <a:lnTo>
                      <a:pt x="143" y="72"/>
                    </a:lnTo>
                    <a:lnTo>
                      <a:pt x="147" y="70"/>
                    </a:lnTo>
                    <a:lnTo>
                      <a:pt x="152" y="67"/>
                    </a:lnTo>
                    <a:lnTo>
                      <a:pt x="157" y="67"/>
                    </a:lnTo>
                    <a:lnTo>
                      <a:pt x="164" y="70"/>
                    </a:lnTo>
                    <a:lnTo>
                      <a:pt x="167" y="70"/>
                    </a:lnTo>
                    <a:lnTo>
                      <a:pt x="170" y="70"/>
                    </a:lnTo>
                    <a:lnTo>
                      <a:pt x="175" y="72"/>
                    </a:lnTo>
                    <a:lnTo>
                      <a:pt x="181" y="77"/>
                    </a:lnTo>
                    <a:lnTo>
                      <a:pt x="184" y="80"/>
                    </a:lnTo>
                    <a:lnTo>
                      <a:pt x="189" y="85"/>
                    </a:lnTo>
                    <a:lnTo>
                      <a:pt x="192" y="84"/>
                    </a:lnTo>
                    <a:lnTo>
                      <a:pt x="196" y="84"/>
                    </a:lnTo>
                    <a:lnTo>
                      <a:pt x="201" y="87"/>
                    </a:lnTo>
                    <a:lnTo>
                      <a:pt x="204" y="89"/>
                    </a:lnTo>
                    <a:lnTo>
                      <a:pt x="203" y="94"/>
                    </a:lnTo>
                    <a:lnTo>
                      <a:pt x="208" y="99"/>
                    </a:lnTo>
                    <a:lnTo>
                      <a:pt x="211" y="104"/>
                    </a:lnTo>
                    <a:lnTo>
                      <a:pt x="213" y="109"/>
                    </a:lnTo>
                    <a:lnTo>
                      <a:pt x="218" y="112"/>
                    </a:lnTo>
                    <a:lnTo>
                      <a:pt x="226" y="117"/>
                    </a:lnTo>
                    <a:lnTo>
                      <a:pt x="228" y="123"/>
                    </a:lnTo>
                    <a:lnTo>
                      <a:pt x="232" y="124"/>
                    </a:lnTo>
                    <a:lnTo>
                      <a:pt x="238" y="123"/>
                    </a:lnTo>
                    <a:lnTo>
                      <a:pt x="238" y="116"/>
                    </a:lnTo>
                    <a:lnTo>
                      <a:pt x="240" y="112"/>
                    </a:lnTo>
                    <a:lnTo>
                      <a:pt x="242" y="107"/>
                    </a:lnTo>
                    <a:lnTo>
                      <a:pt x="247" y="109"/>
                    </a:lnTo>
                    <a:lnTo>
                      <a:pt x="252" y="109"/>
                    </a:lnTo>
                    <a:lnTo>
                      <a:pt x="255" y="109"/>
                    </a:lnTo>
                    <a:lnTo>
                      <a:pt x="259" y="109"/>
                    </a:lnTo>
                    <a:lnTo>
                      <a:pt x="266" y="109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29" name="Line 54">
                <a:extLst>
                  <a:ext uri="{FF2B5EF4-FFF2-40B4-BE49-F238E27FC236}">
                    <a16:creationId xmlns:a16="http://schemas.microsoft.com/office/drawing/2014/main" id="{CDA4FF4A-BC73-E54E-AB88-75CB1590F5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70638" y="22923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0" name="Freeform 55">
                <a:extLst>
                  <a:ext uri="{FF2B5EF4-FFF2-40B4-BE49-F238E27FC236}">
                    <a16:creationId xmlns:a16="http://schemas.microsoft.com/office/drawing/2014/main" id="{42D2C3EB-E9A7-2DBB-23E5-7010DE14D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7538" y="2587625"/>
                <a:ext cx="563562" cy="695325"/>
              </a:xfrm>
              <a:custGeom>
                <a:avLst/>
                <a:gdLst>
                  <a:gd name="T0" fmla="*/ 238 w 355"/>
                  <a:gd name="T1" fmla="*/ 163 h 438"/>
                  <a:gd name="T2" fmla="*/ 255 w 355"/>
                  <a:gd name="T3" fmla="*/ 180 h 438"/>
                  <a:gd name="T4" fmla="*/ 257 w 355"/>
                  <a:gd name="T5" fmla="*/ 202 h 438"/>
                  <a:gd name="T6" fmla="*/ 262 w 355"/>
                  <a:gd name="T7" fmla="*/ 226 h 438"/>
                  <a:gd name="T8" fmla="*/ 277 w 355"/>
                  <a:gd name="T9" fmla="*/ 245 h 438"/>
                  <a:gd name="T10" fmla="*/ 284 w 355"/>
                  <a:gd name="T11" fmla="*/ 246 h 438"/>
                  <a:gd name="T12" fmla="*/ 310 w 355"/>
                  <a:gd name="T13" fmla="*/ 246 h 438"/>
                  <a:gd name="T14" fmla="*/ 330 w 355"/>
                  <a:gd name="T15" fmla="*/ 267 h 438"/>
                  <a:gd name="T16" fmla="*/ 352 w 355"/>
                  <a:gd name="T17" fmla="*/ 265 h 438"/>
                  <a:gd name="T18" fmla="*/ 350 w 355"/>
                  <a:gd name="T19" fmla="*/ 290 h 438"/>
                  <a:gd name="T20" fmla="*/ 337 w 355"/>
                  <a:gd name="T21" fmla="*/ 301 h 438"/>
                  <a:gd name="T22" fmla="*/ 332 w 355"/>
                  <a:gd name="T23" fmla="*/ 329 h 438"/>
                  <a:gd name="T24" fmla="*/ 310 w 355"/>
                  <a:gd name="T25" fmla="*/ 338 h 438"/>
                  <a:gd name="T26" fmla="*/ 293 w 355"/>
                  <a:gd name="T27" fmla="*/ 345 h 438"/>
                  <a:gd name="T28" fmla="*/ 269 w 355"/>
                  <a:gd name="T29" fmla="*/ 350 h 438"/>
                  <a:gd name="T30" fmla="*/ 264 w 355"/>
                  <a:gd name="T31" fmla="*/ 363 h 438"/>
                  <a:gd name="T32" fmla="*/ 240 w 355"/>
                  <a:gd name="T33" fmla="*/ 375 h 438"/>
                  <a:gd name="T34" fmla="*/ 221 w 355"/>
                  <a:gd name="T35" fmla="*/ 385 h 438"/>
                  <a:gd name="T36" fmla="*/ 214 w 355"/>
                  <a:gd name="T37" fmla="*/ 404 h 438"/>
                  <a:gd name="T38" fmla="*/ 196 w 355"/>
                  <a:gd name="T39" fmla="*/ 401 h 438"/>
                  <a:gd name="T40" fmla="*/ 190 w 355"/>
                  <a:gd name="T41" fmla="*/ 424 h 438"/>
                  <a:gd name="T42" fmla="*/ 167 w 355"/>
                  <a:gd name="T43" fmla="*/ 431 h 438"/>
                  <a:gd name="T44" fmla="*/ 148 w 355"/>
                  <a:gd name="T45" fmla="*/ 428 h 438"/>
                  <a:gd name="T46" fmla="*/ 141 w 355"/>
                  <a:gd name="T47" fmla="*/ 416 h 438"/>
                  <a:gd name="T48" fmla="*/ 143 w 355"/>
                  <a:gd name="T49" fmla="*/ 397 h 438"/>
                  <a:gd name="T50" fmla="*/ 119 w 355"/>
                  <a:gd name="T51" fmla="*/ 397 h 438"/>
                  <a:gd name="T52" fmla="*/ 104 w 355"/>
                  <a:gd name="T53" fmla="*/ 390 h 438"/>
                  <a:gd name="T54" fmla="*/ 99 w 355"/>
                  <a:gd name="T55" fmla="*/ 373 h 438"/>
                  <a:gd name="T56" fmla="*/ 90 w 355"/>
                  <a:gd name="T57" fmla="*/ 351 h 438"/>
                  <a:gd name="T58" fmla="*/ 71 w 355"/>
                  <a:gd name="T59" fmla="*/ 333 h 438"/>
                  <a:gd name="T60" fmla="*/ 49 w 355"/>
                  <a:gd name="T61" fmla="*/ 341 h 438"/>
                  <a:gd name="T62" fmla="*/ 24 w 355"/>
                  <a:gd name="T63" fmla="*/ 334 h 438"/>
                  <a:gd name="T64" fmla="*/ 19 w 355"/>
                  <a:gd name="T65" fmla="*/ 316 h 438"/>
                  <a:gd name="T66" fmla="*/ 10 w 355"/>
                  <a:gd name="T67" fmla="*/ 299 h 438"/>
                  <a:gd name="T68" fmla="*/ 7 w 355"/>
                  <a:gd name="T69" fmla="*/ 272 h 438"/>
                  <a:gd name="T70" fmla="*/ 14 w 355"/>
                  <a:gd name="T71" fmla="*/ 256 h 438"/>
                  <a:gd name="T72" fmla="*/ 12 w 355"/>
                  <a:gd name="T73" fmla="*/ 236 h 438"/>
                  <a:gd name="T74" fmla="*/ 17 w 355"/>
                  <a:gd name="T75" fmla="*/ 212 h 438"/>
                  <a:gd name="T76" fmla="*/ 12 w 355"/>
                  <a:gd name="T77" fmla="*/ 202 h 438"/>
                  <a:gd name="T78" fmla="*/ 3 w 355"/>
                  <a:gd name="T79" fmla="*/ 172 h 438"/>
                  <a:gd name="T80" fmla="*/ 24 w 355"/>
                  <a:gd name="T81" fmla="*/ 158 h 438"/>
                  <a:gd name="T82" fmla="*/ 32 w 355"/>
                  <a:gd name="T83" fmla="*/ 133 h 438"/>
                  <a:gd name="T84" fmla="*/ 54 w 355"/>
                  <a:gd name="T85" fmla="*/ 131 h 438"/>
                  <a:gd name="T86" fmla="*/ 78 w 355"/>
                  <a:gd name="T87" fmla="*/ 116 h 438"/>
                  <a:gd name="T88" fmla="*/ 53 w 355"/>
                  <a:gd name="T89" fmla="*/ 112 h 438"/>
                  <a:gd name="T90" fmla="*/ 46 w 355"/>
                  <a:gd name="T91" fmla="*/ 89 h 438"/>
                  <a:gd name="T92" fmla="*/ 29 w 355"/>
                  <a:gd name="T93" fmla="*/ 80 h 438"/>
                  <a:gd name="T94" fmla="*/ 44 w 355"/>
                  <a:gd name="T95" fmla="*/ 63 h 438"/>
                  <a:gd name="T96" fmla="*/ 48 w 355"/>
                  <a:gd name="T97" fmla="*/ 46 h 438"/>
                  <a:gd name="T98" fmla="*/ 59 w 355"/>
                  <a:gd name="T99" fmla="*/ 29 h 438"/>
                  <a:gd name="T100" fmla="*/ 73 w 355"/>
                  <a:gd name="T101" fmla="*/ 7 h 438"/>
                  <a:gd name="T102" fmla="*/ 100 w 355"/>
                  <a:gd name="T103" fmla="*/ 5 h 438"/>
                  <a:gd name="T104" fmla="*/ 114 w 355"/>
                  <a:gd name="T105" fmla="*/ 12 h 438"/>
                  <a:gd name="T106" fmla="*/ 107 w 355"/>
                  <a:gd name="T107" fmla="*/ 34 h 438"/>
                  <a:gd name="T108" fmla="*/ 124 w 355"/>
                  <a:gd name="T109" fmla="*/ 29 h 438"/>
                  <a:gd name="T110" fmla="*/ 151 w 355"/>
                  <a:gd name="T111" fmla="*/ 36 h 438"/>
                  <a:gd name="T112" fmla="*/ 172 w 355"/>
                  <a:gd name="T113" fmla="*/ 60 h 438"/>
                  <a:gd name="T114" fmla="*/ 194 w 355"/>
                  <a:gd name="T115" fmla="*/ 61 h 438"/>
                  <a:gd name="T116" fmla="*/ 216 w 355"/>
                  <a:gd name="T117" fmla="*/ 51 h 438"/>
                  <a:gd name="T118" fmla="*/ 213 w 355"/>
                  <a:gd name="T119" fmla="*/ 80 h 438"/>
                  <a:gd name="T120" fmla="*/ 228 w 355"/>
                  <a:gd name="T121" fmla="*/ 104 h 438"/>
                  <a:gd name="T122" fmla="*/ 235 w 355"/>
                  <a:gd name="T123" fmla="*/ 129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5" h="438">
                    <a:moveTo>
                      <a:pt x="245" y="138"/>
                    </a:moveTo>
                    <a:lnTo>
                      <a:pt x="247" y="143"/>
                    </a:lnTo>
                    <a:lnTo>
                      <a:pt x="245" y="151"/>
                    </a:lnTo>
                    <a:lnTo>
                      <a:pt x="243" y="158"/>
                    </a:lnTo>
                    <a:lnTo>
                      <a:pt x="240" y="160"/>
                    </a:lnTo>
                    <a:lnTo>
                      <a:pt x="238" y="163"/>
                    </a:lnTo>
                    <a:lnTo>
                      <a:pt x="240" y="167"/>
                    </a:lnTo>
                    <a:lnTo>
                      <a:pt x="243" y="168"/>
                    </a:lnTo>
                    <a:lnTo>
                      <a:pt x="248" y="168"/>
                    </a:lnTo>
                    <a:lnTo>
                      <a:pt x="252" y="172"/>
                    </a:lnTo>
                    <a:lnTo>
                      <a:pt x="252" y="177"/>
                    </a:lnTo>
                    <a:lnTo>
                      <a:pt x="255" y="180"/>
                    </a:lnTo>
                    <a:lnTo>
                      <a:pt x="255" y="184"/>
                    </a:lnTo>
                    <a:lnTo>
                      <a:pt x="255" y="189"/>
                    </a:lnTo>
                    <a:lnTo>
                      <a:pt x="253" y="192"/>
                    </a:lnTo>
                    <a:lnTo>
                      <a:pt x="255" y="195"/>
                    </a:lnTo>
                    <a:lnTo>
                      <a:pt x="259" y="199"/>
                    </a:lnTo>
                    <a:lnTo>
                      <a:pt x="257" y="202"/>
                    </a:lnTo>
                    <a:lnTo>
                      <a:pt x="255" y="207"/>
                    </a:lnTo>
                    <a:lnTo>
                      <a:pt x="257" y="211"/>
                    </a:lnTo>
                    <a:lnTo>
                      <a:pt x="259" y="216"/>
                    </a:lnTo>
                    <a:lnTo>
                      <a:pt x="260" y="219"/>
                    </a:lnTo>
                    <a:lnTo>
                      <a:pt x="257" y="223"/>
                    </a:lnTo>
                    <a:lnTo>
                      <a:pt x="262" y="226"/>
                    </a:lnTo>
                    <a:lnTo>
                      <a:pt x="265" y="226"/>
                    </a:lnTo>
                    <a:lnTo>
                      <a:pt x="269" y="231"/>
                    </a:lnTo>
                    <a:lnTo>
                      <a:pt x="272" y="236"/>
                    </a:lnTo>
                    <a:lnTo>
                      <a:pt x="277" y="236"/>
                    </a:lnTo>
                    <a:lnTo>
                      <a:pt x="277" y="240"/>
                    </a:lnTo>
                    <a:lnTo>
                      <a:pt x="277" y="245"/>
                    </a:lnTo>
                    <a:lnTo>
                      <a:pt x="277" y="248"/>
                    </a:lnTo>
                    <a:lnTo>
                      <a:pt x="279" y="253"/>
                    </a:lnTo>
                    <a:lnTo>
                      <a:pt x="282" y="256"/>
                    </a:lnTo>
                    <a:lnTo>
                      <a:pt x="284" y="253"/>
                    </a:lnTo>
                    <a:lnTo>
                      <a:pt x="286" y="250"/>
                    </a:lnTo>
                    <a:lnTo>
                      <a:pt x="284" y="246"/>
                    </a:lnTo>
                    <a:lnTo>
                      <a:pt x="287" y="245"/>
                    </a:lnTo>
                    <a:lnTo>
                      <a:pt x="291" y="245"/>
                    </a:lnTo>
                    <a:lnTo>
                      <a:pt x="296" y="240"/>
                    </a:lnTo>
                    <a:lnTo>
                      <a:pt x="301" y="240"/>
                    </a:lnTo>
                    <a:lnTo>
                      <a:pt x="304" y="243"/>
                    </a:lnTo>
                    <a:lnTo>
                      <a:pt x="310" y="246"/>
                    </a:lnTo>
                    <a:lnTo>
                      <a:pt x="313" y="246"/>
                    </a:lnTo>
                    <a:lnTo>
                      <a:pt x="316" y="251"/>
                    </a:lnTo>
                    <a:lnTo>
                      <a:pt x="318" y="255"/>
                    </a:lnTo>
                    <a:lnTo>
                      <a:pt x="321" y="260"/>
                    </a:lnTo>
                    <a:lnTo>
                      <a:pt x="327" y="267"/>
                    </a:lnTo>
                    <a:lnTo>
                      <a:pt x="330" y="267"/>
                    </a:lnTo>
                    <a:lnTo>
                      <a:pt x="335" y="267"/>
                    </a:lnTo>
                    <a:lnTo>
                      <a:pt x="342" y="263"/>
                    </a:lnTo>
                    <a:lnTo>
                      <a:pt x="344" y="260"/>
                    </a:lnTo>
                    <a:lnTo>
                      <a:pt x="345" y="256"/>
                    </a:lnTo>
                    <a:lnTo>
                      <a:pt x="350" y="260"/>
                    </a:lnTo>
                    <a:lnTo>
                      <a:pt x="352" y="265"/>
                    </a:lnTo>
                    <a:lnTo>
                      <a:pt x="352" y="270"/>
                    </a:lnTo>
                    <a:lnTo>
                      <a:pt x="355" y="273"/>
                    </a:lnTo>
                    <a:lnTo>
                      <a:pt x="354" y="277"/>
                    </a:lnTo>
                    <a:lnTo>
                      <a:pt x="352" y="280"/>
                    </a:lnTo>
                    <a:lnTo>
                      <a:pt x="352" y="285"/>
                    </a:lnTo>
                    <a:lnTo>
                      <a:pt x="350" y="290"/>
                    </a:lnTo>
                    <a:lnTo>
                      <a:pt x="349" y="287"/>
                    </a:lnTo>
                    <a:lnTo>
                      <a:pt x="345" y="287"/>
                    </a:lnTo>
                    <a:lnTo>
                      <a:pt x="340" y="290"/>
                    </a:lnTo>
                    <a:lnTo>
                      <a:pt x="338" y="294"/>
                    </a:lnTo>
                    <a:lnTo>
                      <a:pt x="338" y="297"/>
                    </a:lnTo>
                    <a:lnTo>
                      <a:pt x="337" y="301"/>
                    </a:lnTo>
                    <a:lnTo>
                      <a:pt x="337" y="304"/>
                    </a:lnTo>
                    <a:lnTo>
                      <a:pt x="338" y="309"/>
                    </a:lnTo>
                    <a:lnTo>
                      <a:pt x="337" y="312"/>
                    </a:lnTo>
                    <a:lnTo>
                      <a:pt x="335" y="316"/>
                    </a:lnTo>
                    <a:lnTo>
                      <a:pt x="335" y="324"/>
                    </a:lnTo>
                    <a:lnTo>
                      <a:pt x="332" y="329"/>
                    </a:lnTo>
                    <a:lnTo>
                      <a:pt x="328" y="333"/>
                    </a:lnTo>
                    <a:lnTo>
                      <a:pt x="323" y="328"/>
                    </a:lnTo>
                    <a:lnTo>
                      <a:pt x="320" y="329"/>
                    </a:lnTo>
                    <a:lnTo>
                      <a:pt x="318" y="334"/>
                    </a:lnTo>
                    <a:lnTo>
                      <a:pt x="315" y="336"/>
                    </a:lnTo>
                    <a:lnTo>
                      <a:pt x="310" y="338"/>
                    </a:lnTo>
                    <a:lnTo>
                      <a:pt x="306" y="341"/>
                    </a:lnTo>
                    <a:lnTo>
                      <a:pt x="303" y="341"/>
                    </a:lnTo>
                    <a:lnTo>
                      <a:pt x="299" y="341"/>
                    </a:lnTo>
                    <a:lnTo>
                      <a:pt x="298" y="336"/>
                    </a:lnTo>
                    <a:lnTo>
                      <a:pt x="294" y="341"/>
                    </a:lnTo>
                    <a:lnTo>
                      <a:pt x="293" y="345"/>
                    </a:lnTo>
                    <a:lnTo>
                      <a:pt x="286" y="345"/>
                    </a:lnTo>
                    <a:lnTo>
                      <a:pt x="282" y="345"/>
                    </a:lnTo>
                    <a:lnTo>
                      <a:pt x="277" y="345"/>
                    </a:lnTo>
                    <a:lnTo>
                      <a:pt x="274" y="346"/>
                    </a:lnTo>
                    <a:lnTo>
                      <a:pt x="272" y="350"/>
                    </a:lnTo>
                    <a:lnTo>
                      <a:pt x="269" y="350"/>
                    </a:lnTo>
                    <a:lnTo>
                      <a:pt x="265" y="348"/>
                    </a:lnTo>
                    <a:lnTo>
                      <a:pt x="262" y="348"/>
                    </a:lnTo>
                    <a:lnTo>
                      <a:pt x="259" y="351"/>
                    </a:lnTo>
                    <a:lnTo>
                      <a:pt x="260" y="355"/>
                    </a:lnTo>
                    <a:lnTo>
                      <a:pt x="264" y="358"/>
                    </a:lnTo>
                    <a:lnTo>
                      <a:pt x="264" y="363"/>
                    </a:lnTo>
                    <a:lnTo>
                      <a:pt x="260" y="365"/>
                    </a:lnTo>
                    <a:lnTo>
                      <a:pt x="255" y="367"/>
                    </a:lnTo>
                    <a:lnTo>
                      <a:pt x="252" y="368"/>
                    </a:lnTo>
                    <a:lnTo>
                      <a:pt x="248" y="372"/>
                    </a:lnTo>
                    <a:lnTo>
                      <a:pt x="245" y="375"/>
                    </a:lnTo>
                    <a:lnTo>
                      <a:pt x="240" y="375"/>
                    </a:lnTo>
                    <a:lnTo>
                      <a:pt x="236" y="377"/>
                    </a:lnTo>
                    <a:lnTo>
                      <a:pt x="233" y="377"/>
                    </a:lnTo>
                    <a:lnTo>
                      <a:pt x="233" y="380"/>
                    </a:lnTo>
                    <a:lnTo>
                      <a:pt x="228" y="384"/>
                    </a:lnTo>
                    <a:lnTo>
                      <a:pt x="224" y="385"/>
                    </a:lnTo>
                    <a:lnTo>
                      <a:pt x="221" y="385"/>
                    </a:lnTo>
                    <a:lnTo>
                      <a:pt x="216" y="389"/>
                    </a:lnTo>
                    <a:lnTo>
                      <a:pt x="218" y="392"/>
                    </a:lnTo>
                    <a:lnTo>
                      <a:pt x="223" y="396"/>
                    </a:lnTo>
                    <a:lnTo>
                      <a:pt x="224" y="399"/>
                    </a:lnTo>
                    <a:lnTo>
                      <a:pt x="218" y="402"/>
                    </a:lnTo>
                    <a:lnTo>
                      <a:pt x="214" y="404"/>
                    </a:lnTo>
                    <a:lnTo>
                      <a:pt x="209" y="409"/>
                    </a:lnTo>
                    <a:lnTo>
                      <a:pt x="206" y="411"/>
                    </a:lnTo>
                    <a:lnTo>
                      <a:pt x="202" y="409"/>
                    </a:lnTo>
                    <a:lnTo>
                      <a:pt x="199" y="406"/>
                    </a:lnTo>
                    <a:lnTo>
                      <a:pt x="199" y="402"/>
                    </a:lnTo>
                    <a:lnTo>
                      <a:pt x="196" y="401"/>
                    </a:lnTo>
                    <a:lnTo>
                      <a:pt x="194" y="406"/>
                    </a:lnTo>
                    <a:lnTo>
                      <a:pt x="192" y="409"/>
                    </a:lnTo>
                    <a:lnTo>
                      <a:pt x="192" y="412"/>
                    </a:lnTo>
                    <a:lnTo>
                      <a:pt x="192" y="416"/>
                    </a:lnTo>
                    <a:lnTo>
                      <a:pt x="192" y="419"/>
                    </a:lnTo>
                    <a:lnTo>
                      <a:pt x="190" y="424"/>
                    </a:lnTo>
                    <a:lnTo>
                      <a:pt x="184" y="429"/>
                    </a:lnTo>
                    <a:lnTo>
                      <a:pt x="180" y="431"/>
                    </a:lnTo>
                    <a:lnTo>
                      <a:pt x="175" y="433"/>
                    </a:lnTo>
                    <a:lnTo>
                      <a:pt x="172" y="436"/>
                    </a:lnTo>
                    <a:lnTo>
                      <a:pt x="168" y="438"/>
                    </a:lnTo>
                    <a:lnTo>
                      <a:pt x="167" y="431"/>
                    </a:lnTo>
                    <a:lnTo>
                      <a:pt x="168" y="428"/>
                    </a:lnTo>
                    <a:lnTo>
                      <a:pt x="163" y="426"/>
                    </a:lnTo>
                    <a:lnTo>
                      <a:pt x="160" y="428"/>
                    </a:lnTo>
                    <a:lnTo>
                      <a:pt x="156" y="426"/>
                    </a:lnTo>
                    <a:lnTo>
                      <a:pt x="153" y="428"/>
                    </a:lnTo>
                    <a:lnTo>
                      <a:pt x="148" y="428"/>
                    </a:lnTo>
                    <a:lnTo>
                      <a:pt x="153" y="421"/>
                    </a:lnTo>
                    <a:lnTo>
                      <a:pt x="153" y="418"/>
                    </a:lnTo>
                    <a:lnTo>
                      <a:pt x="150" y="419"/>
                    </a:lnTo>
                    <a:lnTo>
                      <a:pt x="145" y="419"/>
                    </a:lnTo>
                    <a:lnTo>
                      <a:pt x="141" y="419"/>
                    </a:lnTo>
                    <a:lnTo>
                      <a:pt x="141" y="416"/>
                    </a:lnTo>
                    <a:lnTo>
                      <a:pt x="141" y="412"/>
                    </a:lnTo>
                    <a:lnTo>
                      <a:pt x="139" y="409"/>
                    </a:lnTo>
                    <a:lnTo>
                      <a:pt x="143" y="407"/>
                    </a:lnTo>
                    <a:lnTo>
                      <a:pt x="139" y="404"/>
                    </a:lnTo>
                    <a:lnTo>
                      <a:pt x="139" y="401"/>
                    </a:lnTo>
                    <a:lnTo>
                      <a:pt x="143" y="397"/>
                    </a:lnTo>
                    <a:lnTo>
                      <a:pt x="138" y="394"/>
                    </a:lnTo>
                    <a:lnTo>
                      <a:pt x="134" y="392"/>
                    </a:lnTo>
                    <a:lnTo>
                      <a:pt x="131" y="396"/>
                    </a:lnTo>
                    <a:lnTo>
                      <a:pt x="126" y="401"/>
                    </a:lnTo>
                    <a:lnTo>
                      <a:pt x="122" y="401"/>
                    </a:lnTo>
                    <a:lnTo>
                      <a:pt x="119" y="397"/>
                    </a:lnTo>
                    <a:lnTo>
                      <a:pt x="116" y="396"/>
                    </a:lnTo>
                    <a:lnTo>
                      <a:pt x="111" y="397"/>
                    </a:lnTo>
                    <a:lnTo>
                      <a:pt x="107" y="397"/>
                    </a:lnTo>
                    <a:lnTo>
                      <a:pt x="111" y="394"/>
                    </a:lnTo>
                    <a:lnTo>
                      <a:pt x="107" y="390"/>
                    </a:lnTo>
                    <a:lnTo>
                      <a:pt x="104" y="390"/>
                    </a:lnTo>
                    <a:lnTo>
                      <a:pt x="107" y="387"/>
                    </a:lnTo>
                    <a:lnTo>
                      <a:pt x="104" y="385"/>
                    </a:lnTo>
                    <a:lnTo>
                      <a:pt x="100" y="382"/>
                    </a:lnTo>
                    <a:lnTo>
                      <a:pt x="104" y="377"/>
                    </a:lnTo>
                    <a:lnTo>
                      <a:pt x="102" y="373"/>
                    </a:lnTo>
                    <a:lnTo>
                      <a:pt x="99" y="373"/>
                    </a:lnTo>
                    <a:lnTo>
                      <a:pt x="93" y="370"/>
                    </a:lnTo>
                    <a:lnTo>
                      <a:pt x="92" y="367"/>
                    </a:lnTo>
                    <a:lnTo>
                      <a:pt x="93" y="363"/>
                    </a:lnTo>
                    <a:lnTo>
                      <a:pt x="93" y="358"/>
                    </a:lnTo>
                    <a:lnTo>
                      <a:pt x="90" y="357"/>
                    </a:lnTo>
                    <a:lnTo>
                      <a:pt x="90" y="351"/>
                    </a:lnTo>
                    <a:lnTo>
                      <a:pt x="92" y="348"/>
                    </a:lnTo>
                    <a:lnTo>
                      <a:pt x="88" y="346"/>
                    </a:lnTo>
                    <a:lnTo>
                      <a:pt x="87" y="343"/>
                    </a:lnTo>
                    <a:lnTo>
                      <a:pt x="83" y="340"/>
                    </a:lnTo>
                    <a:lnTo>
                      <a:pt x="76" y="334"/>
                    </a:lnTo>
                    <a:lnTo>
                      <a:pt x="71" y="333"/>
                    </a:lnTo>
                    <a:lnTo>
                      <a:pt x="68" y="338"/>
                    </a:lnTo>
                    <a:lnTo>
                      <a:pt x="63" y="338"/>
                    </a:lnTo>
                    <a:lnTo>
                      <a:pt x="63" y="341"/>
                    </a:lnTo>
                    <a:lnTo>
                      <a:pt x="58" y="340"/>
                    </a:lnTo>
                    <a:lnTo>
                      <a:pt x="54" y="341"/>
                    </a:lnTo>
                    <a:lnTo>
                      <a:pt x="49" y="341"/>
                    </a:lnTo>
                    <a:lnTo>
                      <a:pt x="46" y="343"/>
                    </a:lnTo>
                    <a:lnTo>
                      <a:pt x="42" y="343"/>
                    </a:lnTo>
                    <a:lnTo>
                      <a:pt x="37" y="345"/>
                    </a:lnTo>
                    <a:lnTo>
                      <a:pt x="32" y="341"/>
                    </a:lnTo>
                    <a:lnTo>
                      <a:pt x="29" y="338"/>
                    </a:lnTo>
                    <a:lnTo>
                      <a:pt x="24" y="334"/>
                    </a:lnTo>
                    <a:lnTo>
                      <a:pt x="15" y="333"/>
                    </a:lnTo>
                    <a:lnTo>
                      <a:pt x="15" y="329"/>
                    </a:lnTo>
                    <a:lnTo>
                      <a:pt x="12" y="326"/>
                    </a:lnTo>
                    <a:lnTo>
                      <a:pt x="10" y="323"/>
                    </a:lnTo>
                    <a:lnTo>
                      <a:pt x="14" y="318"/>
                    </a:lnTo>
                    <a:lnTo>
                      <a:pt x="19" y="316"/>
                    </a:lnTo>
                    <a:lnTo>
                      <a:pt x="20" y="311"/>
                    </a:lnTo>
                    <a:lnTo>
                      <a:pt x="24" y="307"/>
                    </a:lnTo>
                    <a:lnTo>
                      <a:pt x="22" y="304"/>
                    </a:lnTo>
                    <a:lnTo>
                      <a:pt x="19" y="304"/>
                    </a:lnTo>
                    <a:lnTo>
                      <a:pt x="15" y="301"/>
                    </a:lnTo>
                    <a:lnTo>
                      <a:pt x="10" y="299"/>
                    </a:lnTo>
                    <a:lnTo>
                      <a:pt x="7" y="294"/>
                    </a:lnTo>
                    <a:lnTo>
                      <a:pt x="5" y="289"/>
                    </a:lnTo>
                    <a:lnTo>
                      <a:pt x="3" y="284"/>
                    </a:lnTo>
                    <a:lnTo>
                      <a:pt x="0" y="280"/>
                    </a:lnTo>
                    <a:lnTo>
                      <a:pt x="2" y="275"/>
                    </a:lnTo>
                    <a:lnTo>
                      <a:pt x="7" y="272"/>
                    </a:lnTo>
                    <a:lnTo>
                      <a:pt x="7" y="268"/>
                    </a:lnTo>
                    <a:lnTo>
                      <a:pt x="12" y="267"/>
                    </a:lnTo>
                    <a:lnTo>
                      <a:pt x="15" y="267"/>
                    </a:lnTo>
                    <a:lnTo>
                      <a:pt x="15" y="263"/>
                    </a:lnTo>
                    <a:lnTo>
                      <a:pt x="15" y="260"/>
                    </a:lnTo>
                    <a:lnTo>
                      <a:pt x="14" y="256"/>
                    </a:lnTo>
                    <a:lnTo>
                      <a:pt x="10" y="255"/>
                    </a:lnTo>
                    <a:lnTo>
                      <a:pt x="8" y="251"/>
                    </a:lnTo>
                    <a:lnTo>
                      <a:pt x="10" y="246"/>
                    </a:lnTo>
                    <a:lnTo>
                      <a:pt x="10" y="243"/>
                    </a:lnTo>
                    <a:lnTo>
                      <a:pt x="14" y="240"/>
                    </a:lnTo>
                    <a:lnTo>
                      <a:pt x="12" y="236"/>
                    </a:lnTo>
                    <a:lnTo>
                      <a:pt x="12" y="233"/>
                    </a:lnTo>
                    <a:lnTo>
                      <a:pt x="14" y="229"/>
                    </a:lnTo>
                    <a:lnTo>
                      <a:pt x="15" y="224"/>
                    </a:lnTo>
                    <a:lnTo>
                      <a:pt x="15" y="221"/>
                    </a:lnTo>
                    <a:lnTo>
                      <a:pt x="15" y="217"/>
                    </a:lnTo>
                    <a:lnTo>
                      <a:pt x="17" y="212"/>
                    </a:lnTo>
                    <a:lnTo>
                      <a:pt x="17" y="209"/>
                    </a:lnTo>
                    <a:lnTo>
                      <a:pt x="19" y="206"/>
                    </a:lnTo>
                    <a:lnTo>
                      <a:pt x="19" y="200"/>
                    </a:lnTo>
                    <a:lnTo>
                      <a:pt x="15" y="199"/>
                    </a:lnTo>
                    <a:lnTo>
                      <a:pt x="12" y="199"/>
                    </a:lnTo>
                    <a:lnTo>
                      <a:pt x="12" y="202"/>
                    </a:lnTo>
                    <a:lnTo>
                      <a:pt x="8" y="200"/>
                    </a:lnTo>
                    <a:lnTo>
                      <a:pt x="5" y="195"/>
                    </a:lnTo>
                    <a:lnTo>
                      <a:pt x="5" y="192"/>
                    </a:lnTo>
                    <a:lnTo>
                      <a:pt x="3" y="180"/>
                    </a:lnTo>
                    <a:lnTo>
                      <a:pt x="2" y="177"/>
                    </a:lnTo>
                    <a:lnTo>
                      <a:pt x="3" y="172"/>
                    </a:lnTo>
                    <a:lnTo>
                      <a:pt x="5" y="168"/>
                    </a:lnTo>
                    <a:lnTo>
                      <a:pt x="8" y="165"/>
                    </a:lnTo>
                    <a:lnTo>
                      <a:pt x="12" y="161"/>
                    </a:lnTo>
                    <a:lnTo>
                      <a:pt x="15" y="160"/>
                    </a:lnTo>
                    <a:lnTo>
                      <a:pt x="20" y="158"/>
                    </a:lnTo>
                    <a:lnTo>
                      <a:pt x="24" y="158"/>
                    </a:lnTo>
                    <a:lnTo>
                      <a:pt x="29" y="155"/>
                    </a:lnTo>
                    <a:lnTo>
                      <a:pt x="29" y="151"/>
                    </a:lnTo>
                    <a:lnTo>
                      <a:pt x="32" y="145"/>
                    </a:lnTo>
                    <a:lnTo>
                      <a:pt x="32" y="139"/>
                    </a:lnTo>
                    <a:lnTo>
                      <a:pt x="31" y="136"/>
                    </a:lnTo>
                    <a:lnTo>
                      <a:pt x="32" y="133"/>
                    </a:lnTo>
                    <a:lnTo>
                      <a:pt x="36" y="133"/>
                    </a:lnTo>
                    <a:lnTo>
                      <a:pt x="41" y="134"/>
                    </a:lnTo>
                    <a:lnTo>
                      <a:pt x="44" y="138"/>
                    </a:lnTo>
                    <a:lnTo>
                      <a:pt x="48" y="136"/>
                    </a:lnTo>
                    <a:lnTo>
                      <a:pt x="51" y="131"/>
                    </a:lnTo>
                    <a:lnTo>
                      <a:pt x="54" y="131"/>
                    </a:lnTo>
                    <a:lnTo>
                      <a:pt x="58" y="131"/>
                    </a:lnTo>
                    <a:lnTo>
                      <a:pt x="63" y="126"/>
                    </a:lnTo>
                    <a:lnTo>
                      <a:pt x="66" y="122"/>
                    </a:lnTo>
                    <a:lnTo>
                      <a:pt x="71" y="121"/>
                    </a:lnTo>
                    <a:lnTo>
                      <a:pt x="75" y="119"/>
                    </a:lnTo>
                    <a:lnTo>
                      <a:pt x="78" y="116"/>
                    </a:lnTo>
                    <a:lnTo>
                      <a:pt x="73" y="112"/>
                    </a:lnTo>
                    <a:lnTo>
                      <a:pt x="68" y="114"/>
                    </a:lnTo>
                    <a:lnTo>
                      <a:pt x="68" y="119"/>
                    </a:lnTo>
                    <a:lnTo>
                      <a:pt x="63" y="121"/>
                    </a:lnTo>
                    <a:lnTo>
                      <a:pt x="56" y="117"/>
                    </a:lnTo>
                    <a:lnTo>
                      <a:pt x="53" y="112"/>
                    </a:lnTo>
                    <a:lnTo>
                      <a:pt x="56" y="109"/>
                    </a:lnTo>
                    <a:lnTo>
                      <a:pt x="56" y="106"/>
                    </a:lnTo>
                    <a:lnTo>
                      <a:pt x="56" y="100"/>
                    </a:lnTo>
                    <a:lnTo>
                      <a:pt x="53" y="95"/>
                    </a:lnTo>
                    <a:lnTo>
                      <a:pt x="51" y="92"/>
                    </a:lnTo>
                    <a:lnTo>
                      <a:pt x="46" y="89"/>
                    </a:lnTo>
                    <a:lnTo>
                      <a:pt x="41" y="92"/>
                    </a:lnTo>
                    <a:lnTo>
                      <a:pt x="39" y="87"/>
                    </a:lnTo>
                    <a:lnTo>
                      <a:pt x="39" y="83"/>
                    </a:lnTo>
                    <a:lnTo>
                      <a:pt x="39" y="80"/>
                    </a:lnTo>
                    <a:lnTo>
                      <a:pt x="34" y="80"/>
                    </a:lnTo>
                    <a:lnTo>
                      <a:pt x="29" y="80"/>
                    </a:lnTo>
                    <a:lnTo>
                      <a:pt x="27" y="77"/>
                    </a:lnTo>
                    <a:lnTo>
                      <a:pt x="27" y="73"/>
                    </a:lnTo>
                    <a:lnTo>
                      <a:pt x="32" y="70"/>
                    </a:lnTo>
                    <a:lnTo>
                      <a:pt x="37" y="67"/>
                    </a:lnTo>
                    <a:lnTo>
                      <a:pt x="41" y="67"/>
                    </a:lnTo>
                    <a:lnTo>
                      <a:pt x="44" y="63"/>
                    </a:lnTo>
                    <a:lnTo>
                      <a:pt x="46" y="60"/>
                    </a:lnTo>
                    <a:lnTo>
                      <a:pt x="51" y="56"/>
                    </a:lnTo>
                    <a:lnTo>
                      <a:pt x="56" y="55"/>
                    </a:lnTo>
                    <a:lnTo>
                      <a:pt x="56" y="51"/>
                    </a:lnTo>
                    <a:lnTo>
                      <a:pt x="53" y="50"/>
                    </a:lnTo>
                    <a:lnTo>
                      <a:pt x="48" y="46"/>
                    </a:lnTo>
                    <a:lnTo>
                      <a:pt x="44" y="44"/>
                    </a:lnTo>
                    <a:lnTo>
                      <a:pt x="42" y="41"/>
                    </a:lnTo>
                    <a:lnTo>
                      <a:pt x="42" y="36"/>
                    </a:lnTo>
                    <a:lnTo>
                      <a:pt x="51" y="33"/>
                    </a:lnTo>
                    <a:lnTo>
                      <a:pt x="54" y="33"/>
                    </a:lnTo>
                    <a:lnTo>
                      <a:pt x="59" y="29"/>
                    </a:lnTo>
                    <a:lnTo>
                      <a:pt x="59" y="22"/>
                    </a:lnTo>
                    <a:lnTo>
                      <a:pt x="63" y="17"/>
                    </a:lnTo>
                    <a:lnTo>
                      <a:pt x="66" y="12"/>
                    </a:lnTo>
                    <a:lnTo>
                      <a:pt x="68" y="9"/>
                    </a:lnTo>
                    <a:lnTo>
                      <a:pt x="71" y="4"/>
                    </a:lnTo>
                    <a:lnTo>
                      <a:pt x="73" y="7"/>
                    </a:lnTo>
                    <a:lnTo>
                      <a:pt x="83" y="11"/>
                    </a:lnTo>
                    <a:lnTo>
                      <a:pt x="87" y="9"/>
                    </a:lnTo>
                    <a:lnTo>
                      <a:pt x="90" y="9"/>
                    </a:lnTo>
                    <a:lnTo>
                      <a:pt x="93" y="12"/>
                    </a:lnTo>
                    <a:lnTo>
                      <a:pt x="97" y="7"/>
                    </a:lnTo>
                    <a:lnTo>
                      <a:pt x="100" y="5"/>
                    </a:lnTo>
                    <a:lnTo>
                      <a:pt x="104" y="4"/>
                    </a:lnTo>
                    <a:lnTo>
                      <a:pt x="107" y="0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1" y="16"/>
                    </a:lnTo>
                    <a:lnTo>
                      <a:pt x="107" y="22"/>
                    </a:lnTo>
                    <a:lnTo>
                      <a:pt x="100" y="22"/>
                    </a:lnTo>
                    <a:lnTo>
                      <a:pt x="99" y="26"/>
                    </a:lnTo>
                    <a:lnTo>
                      <a:pt x="102" y="33"/>
                    </a:lnTo>
                    <a:lnTo>
                      <a:pt x="107" y="34"/>
                    </a:lnTo>
                    <a:lnTo>
                      <a:pt x="112" y="29"/>
                    </a:lnTo>
                    <a:lnTo>
                      <a:pt x="117" y="33"/>
                    </a:lnTo>
                    <a:lnTo>
                      <a:pt x="117" y="36"/>
                    </a:lnTo>
                    <a:lnTo>
                      <a:pt x="121" y="38"/>
                    </a:lnTo>
                    <a:lnTo>
                      <a:pt x="121" y="34"/>
                    </a:lnTo>
                    <a:lnTo>
                      <a:pt x="124" y="29"/>
                    </a:lnTo>
                    <a:lnTo>
                      <a:pt x="128" y="28"/>
                    </a:lnTo>
                    <a:lnTo>
                      <a:pt x="133" y="29"/>
                    </a:lnTo>
                    <a:lnTo>
                      <a:pt x="136" y="34"/>
                    </a:lnTo>
                    <a:lnTo>
                      <a:pt x="139" y="33"/>
                    </a:lnTo>
                    <a:lnTo>
                      <a:pt x="146" y="33"/>
                    </a:lnTo>
                    <a:lnTo>
                      <a:pt x="151" y="36"/>
                    </a:lnTo>
                    <a:lnTo>
                      <a:pt x="153" y="39"/>
                    </a:lnTo>
                    <a:lnTo>
                      <a:pt x="155" y="44"/>
                    </a:lnTo>
                    <a:lnTo>
                      <a:pt x="160" y="48"/>
                    </a:lnTo>
                    <a:lnTo>
                      <a:pt x="163" y="53"/>
                    </a:lnTo>
                    <a:lnTo>
                      <a:pt x="168" y="56"/>
                    </a:lnTo>
                    <a:lnTo>
                      <a:pt x="172" y="60"/>
                    </a:lnTo>
                    <a:lnTo>
                      <a:pt x="175" y="60"/>
                    </a:lnTo>
                    <a:lnTo>
                      <a:pt x="179" y="65"/>
                    </a:lnTo>
                    <a:lnTo>
                      <a:pt x="179" y="68"/>
                    </a:lnTo>
                    <a:lnTo>
                      <a:pt x="182" y="63"/>
                    </a:lnTo>
                    <a:lnTo>
                      <a:pt x="189" y="60"/>
                    </a:lnTo>
                    <a:lnTo>
                      <a:pt x="194" y="61"/>
                    </a:lnTo>
                    <a:lnTo>
                      <a:pt x="199" y="63"/>
                    </a:lnTo>
                    <a:lnTo>
                      <a:pt x="202" y="58"/>
                    </a:lnTo>
                    <a:lnTo>
                      <a:pt x="204" y="55"/>
                    </a:lnTo>
                    <a:lnTo>
                      <a:pt x="207" y="51"/>
                    </a:lnTo>
                    <a:lnTo>
                      <a:pt x="213" y="50"/>
                    </a:lnTo>
                    <a:lnTo>
                      <a:pt x="216" y="51"/>
                    </a:lnTo>
                    <a:lnTo>
                      <a:pt x="218" y="55"/>
                    </a:lnTo>
                    <a:lnTo>
                      <a:pt x="216" y="60"/>
                    </a:lnTo>
                    <a:lnTo>
                      <a:pt x="218" y="63"/>
                    </a:lnTo>
                    <a:lnTo>
                      <a:pt x="219" y="72"/>
                    </a:lnTo>
                    <a:lnTo>
                      <a:pt x="214" y="73"/>
                    </a:lnTo>
                    <a:lnTo>
                      <a:pt x="213" y="80"/>
                    </a:lnTo>
                    <a:lnTo>
                      <a:pt x="216" y="83"/>
                    </a:lnTo>
                    <a:lnTo>
                      <a:pt x="219" y="87"/>
                    </a:lnTo>
                    <a:lnTo>
                      <a:pt x="223" y="90"/>
                    </a:lnTo>
                    <a:lnTo>
                      <a:pt x="224" y="95"/>
                    </a:lnTo>
                    <a:lnTo>
                      <a:pt x="226" y="99"/>
                    </a:lnTo>
                    <a:lnTo>
                      <a:pt x="228" y="104"/>
                    </a:lnTo>
                    <a:lnTo>
                      <a:pt x="228" y="109"/>
                    </a:lnTo>
                    <a:lnTo>
                      <a:pt x="224" y="112"/>
                    </a:lnTo>
                    <a:lnTo>
                      <a:pt x="230" y="117"/>
                    </a:lnTo>
                    <a:lnTo>
                      <a:pt x="233" y="119"/>
                    </a:lnTo>
                    <a:lnTo>
                      <a:pt x="235" y="122"/>
                    </a:lnTo>
                    <a:lnTo>
                      <a:pt x="235" y="129"/>
                    </a:lnTo>
                    <a:lnTo>
                      <a:pt x="238" y="133"/>
                    </a:lnTo>
                    <a:lnTo>
                      <a:pt x="240" y="138"/>
                    </a:lnTo>
                    <a:lnTo>
                      <a:pt x="245" y="138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1" name="Freeform 56">
                <a:extLst>
                  <a:ext uri="{FF2B5EF4-FFF2-40B4-BE49-F238E27FC236}">
                    <a16:creationId xmlns:a16="http://schemas.microsoft.com/office/drawing/2014/main" id="{933D20C2-9E00-683E-D566-A39EFD699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0725" y="2386013"/>
                <a:ext cx="725487" cy="700087"/>
              </a:xfrm>
              <a:custGeom>
                <a:avLst/>
                <a:gdLst>
                  <a:gd name="T0" fmla="*/ 386 w 457"/>
                  <a:gd name="T1" fmla="*/ 185 h 441"/>
                  <a:gd name="T2" fmla="*/ 398 w 457"/>
                  <a:gd name="T3" fmla="*/ 214 h 441"/>
                  <a:gd name="T4" fmla="*/ 415 w 457"/>
                  <a:gd name="T5" fmla="*/ 243 h 441"/>
                  <a:gd name="T6" fmla="*/ 423 w 457"/>
                  <a:gd name="T7" fmla="*/ 268 h 441"/>
                  <a:gd name="T8" fmla="*/ 437 w 457"/>
                  <a:gd name="T9" fmla="*/ 297 h 441"/>
                  <a:gd name="T10" fmla="*/ 445 w 457"/>
                  <a:gd name="T11" fmla="*/ 331 h 441"/>
                  <a:gd name="T12" fmla="*/ 455 w 457"/>
                  <a:gd name="T13" fmla="*/ 355 h 441"/>
                  <a:gd name="T14" fmla="*/ 433 w 457"/>
                  <a:gd name="T15" fmla="*/ 368 h 441"/>
                  <a:gd name="T16" fmla="*/ 404 w 457"/>
                  <a:gd name="T17" fmla="*/ 380 h 441"/>
                  <a:gd name="T18" fmla="*/ 387 w 457"/>
                  <a:gd name="T19" fmla="*/ 397 h 441"/>
                  <a:gd name="T20" fmla="*/ 364 w 457"/>
                  <a:gd name="T21" fmla="*/ 395 h 441"/>
                  <a:gd name="T22" fmla="*/ 353 w 457"/>
                  <a:gd name="T23" fmla="*/ 419 h 441"/>
                  <a:gd name="T24" fmla="*/ 338 w 457"/>
                  <a:gd name="T25" fmla="*/ 434 h 441"/>
                  <a:gd name="T26" fmla="*/ 313 w 457"/>
                  <a:gd name="T27" fmla="*/ 438 h 441"/>
                  <a:gd name="T28" fmla="*/ 290 w 457"/>
                  <a:gd name="T29" fmla="*/ 428 h 441"/>
                  <a:gd name="T30" fmla="*/ 273 w 457"/>
                  <a:gd name="T31" fmla="*/ 421 h 441"/>
                  <a:gd name="T32" fmla="*/ 287 w 457"/>
                  <a:gd name="T33" fmla="*/ 407 h 441"/>
                  <a:gd name="T34" fmla="*/ 284 w 457"/>
                  <a:gd name="T35" fmla="*/ 383 h 441"/>
                  <a:gd name="T36" fmla="*/ 258 w 457"/>
                  <a:gd name="T37" fmla="*/ 389 h 441"/>
                  <a:gd name="T38" fmla="*/ 238 w 457"/>
                  <a:gd name="T39" fmla="*/ 368 h 441"/>
                  <a:gd name="T40" fmla="*/ 219 w 457"/>
                  <a:gd name="T41" fmla="*/ 380 h 441"/>
                  <a:gd name="T42" fmla="*/ 214 w 457"/>
                  <a:gd name="T43" fmla="*/ 363 h 441"/>
                  <a:gd name="T44" fmla="*/ 192 w 457"/>
                  <a:gd name="T45" fmla="*/ 348 h 441"/>
                  <a:gd name="T46" fmla="*/ 190 w 457"/>
                  <a:gd name="T47" fmla="*/ 322 h 441"/>
                  <a:gd name="T48" fmla="*/ 187 w 457"/>
                  <a:gd name="T49" fmla="*/ 299 h 441"/>
                  <a:gd name="T50" fmla="*/ 175 w 457"/>
                  <a:gd name="T51" fmla="*/ 285 h 441"/>
                  <a:gd name="T52" fmla="*/ 171 w 457"/>
                  <a:gd name="T53" fmla="*/ 258 h 441"/>
                  <a:gd name="T54" fmla="*/ 163 w 457"/>
                  <a:gd name="T55" fmla="*/ 234 h 441"/>
                  <a:gd name="T56" fmla="*/ 148 w 457"/>
                  <a:gd name="T57" fmla="*/ 207 h 441"/>
                  <a:gd name="T58" fmla="*/ 153 w 457"/>
                  <a:gd name="T59" fmla="*/ 180 h 441"/>
                  <a:gd name="T60" fmla="*/ 132 w 457"/>
                  <a:gd name="T61" fmla="*/ 190 h 441"/>
                  <a:gd name="T62" fmla="*/ 103 w 457"/>
                  <a:gd name="T63" fmla="*/ 185 h 441"/>
                  <a:gd name="T64" fmla="*/ 83 w 457"/>
                  <a:gd name="T65" fmla="*/ 161 h 441"/>
                  <a:gd name="T66" fmla="*/ 57 w 457"/>
                  <a:gd name="T67" fmla="*/ 160 h 441"/>
                  <a:gd name="T68" fmla="*/ 40 w 457"/>
                  <a:gd name="T69" fmla="*/ 161 h 441"/>
                  <a:gd name="T70" fmla="*/ 46 w 457"/>
                  <a:gd name="T71" fmla="*/ 136 h 441"/>
                  <a:gd name="T72" fmla="*/ 28 w 457"/>
                  <a:gd name="T73" fmla="*/ 139 h 441"/>
                  <a:gd name="T74" fmla="*/ 6 w 457"/>
                  <a:gd name="T75" fmla="*/ 127 h 441"/>
                  <a:gd name="T76" fmla="*/ 15 w 457"/>
                  <a:gd name="T77" fmla="*/ 105 h 441"/>
                  <a:gd name="T78" fmla="*/ 28 w 457"/>
                  <a:gd name="T79" fmla="*/ 92 h 441"/>
                  <a:gd name="T80" fmla="*/ 35 w 457"/>
                  <a:gd name="T81" fmla="*/ 99 h 441"/>
                  <a:gd name="T82" fmla="*/ 35 w 457"/>
                  <a:gd name="T83" fmla="*/ 83 h 441"/>
                  <a:gd name="T84" fmla="*/ 25 w 457"/>
                  <a:gd name="T85" fmla="*/ 65 h 441"/>
                  <a:gd name="T86" fmla="*/ 37 w 457"/>
                  <a:gd name="T87" fmla="*/ 41 h 441"/>
                  <a:gd name="T88" fmla="*/ 54 w 457"/>
                  <a:gd name="T89" fmla="*/ 36 h 441"/>
                  <a:gd name="T90" fmla="*/ 68 w 457"/>
                  <a:gd name="T91" fmla="*/ 27 h 441"/>
                  <a:gd name="T92" fmla="*/ 86 w 457"/>
                  <a:gd name="T93" fmla="*/ 32 h 441"/>
                  <a:gd name="T94" fmla="*/ 100 w 457"/>
                  <a:gd name="T95" fmla="*/ 34 h 441"/>
                  <a:gd name="T96" fmla="*/ 107 w 457"/>
                  <a:gd name="T97" fmla="*/ 51 h 441"/>
                  <a:gd name="T98" fmla="*/ 127 w 457"/>
                  <a:gd name="T99" fmla="*/ 41 h 441"/>
                  <a:gd name="T100" fmla="*/ 134 w 457"/>
                  <a:gd name="T101" fmla="*/ 17 h 441"/>
                  <a:gd name="T102" fmla="*/ 148 w 457"/>
                  <a:gd name="T103" fmla="*/ 0 h 441"/>
                  <a:gd name="T104" fmla="*/ 178 w 457"/>
                  <a:gd name="T105" fmla="*/ 14 h 441"/>
                  <a:gd name="T106" fmla="*/ 212 w 457"/>
                  <a:gd name="T107" fmla="*/ 41 h 441"/>
                  <a:gd name="T108" fmla="*/ 238 w 457"/>
                  <a:gd name="T109" fmla="*/ 63 h 441"/>
                  <a:gd name="T110" fmla="*/ 272 w 457"/>
                  <a:gd name="T111" fmla="*/ 88 h 441"/>
                  <a:gd name="T112" fmla="*/ 297 w 457"/>
                  <a:gd name="T113" fmla="*/ 104 h 441"/>
                  <a:gd name="T114" fmla="*/ 325 w 457"/>
                  <a:gd name="T115" fmla="*/ 116 h 441"/>
                  <a:gd name="T116" fmla="*/ 342 w 457"/>
                  <a:gd name="T117" fmla="*/ 112 h 441"/>
                  <a:gd name="T118" fmla="*/ 364 w 457"/>
                  <a:gd name="T119" fmla="*/ 132 h 441"/>
                  <a:gd name="T120" fmla="*/ 370 w 457"/>
                  <a:gd name="T121" fmla="*/ 155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57" h="441">
                    <a:moveTo>
                      <a:pt x="376" y="163"/>
                    </a:moveTo>
                    <a:lnTo>
                      <a:pt x="377" y="166"/>
                    </a:lnTo>
                    <a:lnTo>
                      <a:pt x="379" y="170"/>
                    </a:lnTo>
                    <a:lnTo>
                      <a:pt x="382" y="175"/>
                    </a:lnTo>
                    <a:lnTo>
                      <a:pt x="384" y="180"/>
                    </a:lnTo>
                    <a:lnTo>
                      <a:pt x="386" y="185"/>
                    </a:lnTo>
                    <a:lnTo>
                      <a:pt x="387" y="188"/>
                    </a:lnTo>
                    <a:lnTo>
                      <a:pt x="389" y="194"/>
                    </a:lnTo>
                    <a:lnTo>
                      <a:pt x="393" y="200"/>
                    </a:lnTo>
                    <a:lnTo>
                      <a:pt x="394" y="205"/>
                    </a:lnTo>
                    <a:lnTo>
                      <a:pt x="396" y="209"/>
                    </a:lnTo>
                    <a:lnTo>
                      <a:pt x="398" y="214"/>
                    </a:lnTo>
                    <a:lnTo>
                      <a:pt x="401" y="217"/>
                    </a:lnTo>
                    <a:lnTo>
                      <a:pt x="404" y="222"/>
                    </a:lnTo>
                    <a:lnTo>
                      <a:pt x="408" y="229"/>
                    </a:lnTo>
                    <a:lnTo>
                      <a:pt x="410" y="234"/>
                    </a:lnTo>
                    <a:lnTo>
                      <a:pt x="411" y="238"/>
                    </a:lnTo>
                    <a:lnTo>
                      <a:pt x="415" y="243"/>
                    </a:lnTo>
                    <a:lnTo>
                      <a:pt x="416" y="246"/>
                    </a:lnTo>
                    <a:lnTo>
                      <a:pt x="418" y="251"/>
                    </a:lnTo>
                    <a:lnTo>
                      <a:pt x="420" y="256"/>
                    </a:lnTo>
                    <a:lnTo>
                      <a:pt x="420" y="260"/>
                    </a:lnTo>
                    <a:lnTo>
                      <a:pt x="421" y="263"/>
                    </a:lnTo>
                    <a:lnTo>
                      <a:pt x="423" y="268"/>
                    </a:lnTo>
                    <a:lnTo>
                      <a:pt x="427" y="272"/>
                    </a:lnTo>
                    <a:lnTo>
                      <a:pt x="428" y="277"/>
                    </a:lnTo>
                    <a:lnTo>
                      <a:pt x="430" y="282"/>
                    </a:lnTo>
                    <a:lnTo>
                      <a:pt x="433" y="288"/>
                    </a:lnTo>
                    <a:lnTo>
                      <a:pt x="435" y="294"/>
                    </a:lnTo>
                    <a:lnTo>
                      <a:pt x="437" y="297"/>
                    </a:lnTo>
                    <a:lnTo>
                      <a:pt x="437" y="302"/>
                    </a:lnTo>
                    <a:lnTo>
                      <a:pt x="438" y="305"/>
                    </a:lnTo>
                    <a:lnTo>
                      <a:pt x="440" y="312"/>
                    </a:lnTo>
                    <a:lnTo>
                      <a:pt x="440" y="316"/>
                    </a:lnTo>
                    <a:lnTo>
                      <a:pt x="442" y="321"/>
                    </a:lnTo>
                    <a:lnTo>
                      <a:pt x="445" y="331"/>
                    </a:lnTo>
                    <a:lnTo>
                      <a:pt x="447" y="334"/>
                    </a:lnTo>
                    <a:lnTo>
                      <a:pt x="447" y="338"/>
                    </a:lnTo>
                    <a:lnTo>
                      <a:pt x="450" y="343"/>
                    </a:lnTo>
                    <a:lnTo>
                      <a:pt x="450" y="346"/>
                    </a:lnTo>
                    <a:lnTo>
                      <a:pt x="452" y="350"/>
                    </a:lnTo>
                    <a:lnTo>
                      <a:pt x="455" y="355"/>
                    </a:lnTo>
                    <a:lnTo>
                      <a:pt x="457" y="360"/>
                    </a:lnTo>
                    <a:lnTo>
                      <a:pt x="454" y="363"/>
                    </a:lnTo>
                    <a:lnTo>
                      <a:pt x="450" y="363"/>
                    </a:lnTo>
                    <a:lnTo>
                      <a:pt x="442" y="367"/>
                    </a:lnTo>
                    <a:lnTo>
                      <a:pt x="437" y="367"/>
                    </a:lnTo>
                    <a:lnTo>
                      <a:pt x="433" y="368"/>
                    </a:lnTo>
                    <a:lnTo>
                      <a:pt x="430" y="372"/>
                    </a:lnTo>
                    <a:lnTo>
                      <a:pt x="423" y="375"/>
                    </a:lnTo>
                    <a:lnTo>
                      <a:pt x="418" y="377"/>
                    </a:lnTo>
                    <a:lnTo>
                      <a:pt x="413" y="377"/>
                    </a:lnTo>
                    <a:lnTo>
                      <a:pt x="408" y="378"/>
                    </a:lnTo>
                    <a:lnTo>
                      <a:pt x="404" y="380"/>
                    </a:lnTo>
                    <a:lnTo>
                      <a:pt x="404" y="385"/>
                    </a:lnTo>
                    <a:lnTo>
                      <a:pt x="403" y="390"/>
                    </a:lnTo>
                    <a:lnTo>
                      <a:pt x="399" y="392"/>
                    </a:lnTo>
                    <a:lnTo>
                      <a:pt x="396" y="394"/>
                    </a:lnTo>
                    <a:lnTo>
                      <a:pt x="391" y="397"/>
                    </a:lnTo>
                    <a:lnTo>
                      <a:pt x="387" y="397"/>
                    </a:lnTo>
                    <a:lnTo>
                      <a:pt x="384" y="394"/>
                    </a:lnTo>
                    <a:lnTo>
                      <a:pt x="381" y="395"/>
                    </a:lnTo>
                    <a:lnTo>
                      <a:pt x="377" y="397"/>
                    </a:lnTo>
                    <a:lnTo>
                      <a:pt x="372" y="399"/>
                    </a:lnTo>
                    <a:lnTo>
                      <a:pt x="365" y="399"/>
                    </a:lnTo>
                    <a:lnTo>
                      <a:pt x="364" y="395"/>
                    </a:lnTo>
                    <a:lnTo>
                      <a:pt x="360" y="395"/>
                    </a:lnTo>
                    <a:lnTo>
                      <a:pt x="360" y="400"/>
                    </a:lnTo>
                    <a:lnTo>
                      <a:pt x="355" y="406"/>
                    </a:lnTo>
                    <a:lnTo>
                      <a:pt x="353" y="409"/>
                    </a:lnTo>
                    <a:lnTo>
                      <a:pt x="353" y="414"/>
                    </a:lnTo>
                    <a:lnTo>
                      <a:pt x="353" y="419"/>
                    </a:lnTo>
                    <a:lnTo>
                      <a:pt x="352" y="422"/>
                    </a:lnTo>
                    <a:lnTo>
                      <a:pt x="348" y="424"/>
                    </a:lnTo>
                    <a:lnTo>
                      <a:pt x="345" y="424"/>
                    </a:lnTo>
                    <a:lnTo>
                      <a:pt x="340" y="424"/>
                    </a:lnTo>
                    <a:lnTo>
                      <a:pt x="336" y="431"/>
                    </a:lnTo>
                    <a:lnTo>
                      <a:pt x="338" y="434"/>
                    </a:lnTo>
                    <a:lnTo>
                      <a:pt x="335" y="434"/>
                    </a:lnTo>
                    <a:lnTo>
                      <a:pt x="330" y="438"/>
                    </a:lnTo>
                    <a:lnTo>
                      <a:pt x="326" y="441"/>
                    </a:lnTo>
                    <a:lnTo>
                      <a:pt x="319" y="439"/>
                    </a:lnTo>
                    <a:lnTo>
                      <a:pt x="316" y="439"/>
                    </a:lnTo>
                    <a:lnTo>
                      <a:pt x="313" y="438"/>
                    </a:lnTo>
                    <a:lnTo>
                      <a:pt x="309" y="434"/>
                    </a:lnTo>
                    <a:lnTo>
                      <a:pt x="306" y="431"/>
                    </a:lnTo>
                    <a:lnTo>
                      <a:pt x="302" y="428"/>
                    </a:lnTo>
                    <a:lnTo>
                      <a:pt x="299" y="428"/>
                    </a:lnTo>
                    <a:lnTo>
                      <a:pt x="294" y="424"/>
                    </a:lnTo>
                    <a:lnTo>
                      <a:pt x="290" y="428"/>
                    </a:lnTo>
                    <a:lnTo>
                      <a:pt x="290" y="431"/>
                    </a:lnTo>
                    <a:lnTo>
                      <a:pt x="285" y="431"/>
                    </a:lnTo>
                    <a:lnTo>
                      <a:pt x="277" y="429"/>
                    </a:lnTo>
                    <a:lnTo>
                      <a:pt x="272" y="428"/>
                    </a:lnTo>
                    <a:lnTo>
                      <a:pt x="273" y="424"/>
                    </a:lnTo>
                    <a:lnTo>
                      <a:pt x="273" y="421"/>
                    </a:lnTo>
                    <a:lnTo>
                      <a:pt x="273" y="417"/>
                    </a:lnTo>
                    <a:lnTo>
                      <a:pt x="277" y="416"/>
                    </a:lnTo>
                    <a:lnTo>
                      <a:pt x="284" y="414"/>
                    </a:lnTo>
                    <a:lnTo>
                      <a:pt x="284" y="417"/>
                    </a:lnTo>
                    <a:lnTo>
                      <a:pt x="287" y="414"/>
                    </a:lnTo>
                    <a:lnTo>
                      <a:pt x="287" y="407"/>
                    </a:lnTo>
                    <a:lnTo>
                      <a:pt x="289" y="404"/>
                    </a:lnTo>
                    <a:lnTo>
                      <a:pt x="290" y="400"/>
                    </a:lnTo>
                    <a:lnTo>
                      <a:pt x="289" y="397"/>
                    </a:lnTo>
                    <a:lnTo>
                      <a:pt x="287" y="392"/>
                    </a:lnTo>
                    <a:lnTo>
                      <a:pt x="285" y="389"/>
                    </a:lnTo>
                    <a:lnTo>
                      <a:pt x="284" y="383"/>
                    </a:lnTo>
                    <a:lnTo>
                      <a:pt x="280" y="385"/>
                    </a:lnTo>
                    <a:lnTo>
                      <a:pt x="277" y="390"/>
                    </a:lnTo>
                    <a:lnTo>
                      <a:pt x="270" y="394"/>
                    </a:lnTo>
                    <a:lnTo>
                      <a:pt x="265" y="394"/>
                    </a:lnTo>
                    <a:lnTo>
                      <a:pt x="262" y="394"/>
                    </a:lnTo>
                    <a:lnTo>
                      <a:pt x="258" y="389"/>
                    </a:lnTo>
                    <a:lnTo>
                      <a:pt x="255" y="382"/>
                    </a:lnTo>
                    <a:lnTo>
                      <a:pt x="251" y="378"/>
                    </a:lnTo>
                    <a:lnTo>
                      <a:pt x="250" y="375"/>
                    </a:lnTo>
                    <a:lnTo>
                      <a:pt x="245" y="373"/>
                    </a:lnTo>
                    <a:lnTo>
                      <a:pt x="241" y="372"/>
                    </a:lnTo>
                    <a:lnTo>
                      <a:pt x="238" y="368"/>
                    </a:lnTo>
                    <a:lnTo>
                      <a:pt x="234" y="365"/>
                    </a:lnTo>
                    <a:lnTo>
                      <a:pt x="229" y="370"/>
                    </a:lnTo>
                    <a:lnTo>
                      <a:pt x="222" y="372"/>
                    </a:lnTo>
                    <a:lnTo>
                      <a:pt x="219" y="372"/>
                    </a:lnTo>
                    <a:lnTo>
                      <a:pt x="221" y="377"/>
                    </a:lnTo>
                    <a:lnTo>
                      <a:pt x="219" y="380"/>
                    </a:lnTo>
                    <a:lnTo>
                      <a:pt x="217" y="383"/>
                    </a:lnTo>
                    <a:lnTo>
                      <a:pt x="214" y="382"/>
                    </a:lnTo>
                    <a:lnTo>
                      <a:pt x="214" y="378"/>
                    </a:lnTo>
                    <a:lnTo>
                      <a:pt x="212" y="373"/>
                    </a:lnTo>
                    <a:lnTo>
                      <a:pt x="212" y="367"/>
                    </a:lnTo>
                    <a:lnTo>
                      <a:pt x="214" y="363"/>
                    </a:lnTo>
                    <a:lnTo>
                      <a:pt x="211" y="363"/>
                    </a:lnTo>
                    <a:lnTo>
                      <a:pt x="205" y="358"/>
                    </a:lnTo>
                    <a:lnTo>
                      <a:pt x="202" y="356"/>
                    </a:lnTo>
                    <a:lnTo>
                      <a:pt x="199" y="353"/>
                    </a:lnTo>
                    <a:lnTo>
                      <a:pt x="194" y="351"/>
                    </a:lnTo>
                    <a:lnTo>
                      <a:pt x="192" y="348"/>
                    </a:lnTo>
                    <a:lnTo>
                      <a:pt x="195" y="343"/>
                    </a:lnTo>
                    <a:lnTo>
                      <a:pt x="192" y="338"/>
                    </a:lnTo>
                    <a:lnTo>
                      <a:pt x="188" y="334"/>
                    </a:lnTo>
                    <a:lnTo>
                      <a:pt x="192" y="331"/>
                    </a:lnTo>
                    <a:lnTo>
                      <a:pt x="194" y="326"/>
                    </a:lnTo>
                    <a:lnTo>
                      <a:pt x="190" y="322"/>
                    </a:lnTo>
                    <a:lnTo>
                      <a:pt x="188" y="319"/>
                    </a:lnTo>
                    <a:lnTo>
                      <a:pt x="190" y="316"/>
                    </a:lnTo>
                    <a:lnTo>
                      <a:pt x="190" y="311"/>
                    </a:lnTo>
                    <a:lnTo>
                      <a:pt x="190" y="307"/>
                    </a:lnTo>
                    <a:lnTo>
                      <a:pt x="187" y="304"/>
                    </a:lnTo>
                    <a:lnTo>
                      <a:pt x="187" y="299"/>
                    </a:lnTo>
                    <a:lnTo>
                      <a:pt x="185" y="295"/>
                    </a:lnTo>
                    <a:lnTo>
                      <a:pt x="180" y="295"/>
                    </a:lnTo>
                    <a:lnTo>
                      <a:pt x="177" y="295"/>
                    </a:lnTo>
                    <a:lnTo>
                      <a:pt x="175" y="292"/>
                    </a:lnTo>
                    <a:lnTo>
                      <a:pt x="171" y="288"/>
                    </a:lnTo>
                    <a:lnTo>
                      <a:pt x="175" y="285"/>
                    </a:lnTo>
                    <a:lnTo>
                      <a:pt x="180" y="280"/>
                    </a:lnTo>
                    <a:lnTo>
                      <a:pt x="182" y="273"/>
                    </a:lnTo>
                    <a:lnTo>
                      <a:pt x="180" y="266"/>
                    </a:lnTo>
                    <a:lnTo>
                      <a:pt x="177" y="265"/>
                    </a:lnTo>
                    <a:lnTo>
                      <a:pt x="173" y="263"/>
                    </a:lnTo>
                    <a:lnTo>
                      <a:pt x="171" y="258"/>
                    </a:lnTo>
                    <a:lnTo>
                      <a:pt x="170" y="251"/>
                    </a:lnTo>
                    <a:lnTo>
                      <a:pt x="170" y="248"/>
                    </a:lnTo>
                    <a:lnTo>
                      <a:pt x="165" y="244"/>
                    </a:lnTo>
                    <a:lnTo>
                      <a:pt x="159" y="241"/>
                    </a:lnTo>
                    <a:lnTo>
                      <a:pt x="161" y="238"/>
                    </a:lnTo>
                    <a:lnTo>
                      <a:pt x="163" y="234"/>
                    </a:lnTo>
                    <a:lnTo>
                      <a:pt x="161" y="226"/>
                    </a:lnTo>
                    <a:lnTo>
                      <a:pt x="159" y="222"/>
                    </a:lnTo>
                    <a:lnTo>
                      <a:pt x="158" y="217"/>
                    </a:lnTo>
                    <a:lnTo>
                      <a:pt x="154" y="214"/>
                    </a:lnTo>
                    <a:lnTo>
                      <a:pt x="151" y="210"/>
                    </a:lnTo>
                    <a:lnTo>
                      <a:pt x="148" y="207"/>
                    </a:lnTo>
                    <a:lnTo>
                      <a:pt x="149" y="200"/>
                    </a:lnTo>
                    <a:lnTo>
                      <a:pt x="154" y="199"/>
                    </a:lnTo>
                    <a:lnTo>
                      <a:pt x="154" y="194"/>
                    </a:lnTo>
                    <a:lnTo>
                      <a:pt x="151" y="190"/>
                    </a:lnTo>
                    <a:lnTo>
                      <a:pt x="151" y="183"/>
                    </a:lnTo>
                    <a:lnTo>
                      <a:pt x="153" y="180"/>
                    </a:lnTo>
                    <a:lnTo>
                      <a:pt x="149" y="178"/>
                    </a:lnTo>
                    <a:lnTo>
                      <a:pt x="144" y="177"/>
                    </a:lnTo>
                    <a:lnTo>
                      <a:pt x="141" y="180"/>
                    </a:lnTo>
                    <a:lnTo>
                      <a:pt x="137" y="185"/>
                    </a:lnTo>
                    <a:lnTo>
                      <a:pt x="137" y="190"/>
                    </a:lnTo>
                    <a:lnTo>
                      <a:pt x="132" y="190"/>
                    </a:lnTo>
                    <a:lnTo>
                      <a:pt x="125" y="187"/>
                    </a:lnTo>
                    <a:lnTo>
                      <a:pt x="120" y="188"/>
                    </a:lnTo>
                    <a:lnTo>
                      <a:pt x="115" y="194"/>
                    </a:lnTo>
                    <a:lnTo>
                      <a:pt x="110" y="188"/>
                    </a:lnTo>
                    <a:lnTo>
                      <a:pt x="107" y="187"/>
                    </a:lnTo>
                    <a:lnTo>
                      <a:pt x="103" y="185"/>
                    </a:lnTo>
                    <a:lnTo>
                      <a:pt x="98" y="180"/>
                    </a:lnTo>
                    <a:lnTo>
                      <a:pt x="95" y="177"/>
                    </a:lnTo>
                    <a:lnTo>
                      <a:pt x="90" y="171"/>
                    </a:lnTo>
                    <a:lnTo>
                      <a:pt x="88" y="166"/>
                    </a:lnTo>
                    <a:lnTo>
                      <a:pt x="86" y="163"/>
                    </a:lnTo>
                    <a:lnTo>
                      <a:pt x="83" y="161"/>
                    </a:lnTo>
                    <a:lnTo>
                      <a:pt x="78" y="158"/>
                    </a:lnTo>
                    <a:lnTo>
                      <a:pt x="73" y="161"/>
                    </a:lnTo>
                    <a:lnTo>
                      <a:pt x="69" y="160"/>
                    </a:lnTo>
                    <a:lnTo>
                      <a:pt x="66" y="155"/>
                    </a:lnTo>
                    <a:lnTo>
                      <a:pt x="61" y="155"/>
                    </a:lnTo>
                    <a:lnTo>
                      <a:pt x="57" y="160"/>
                    </a:lnTo>
                    <a:lnTo>
                      <a:pt x="56" y="163"/>
                    </a:lnTo>
                    <a:lnTo>
                      <a:pt x="52" y="163"/>
                    </a:lnTo>
                    <a:lnTo>
                      <a:pt x="52" y="160"/>
                    </a:lnTo>
                    <a:lnTo>
                      <a:pt x="47" y="156"/>
                    </a:lnTo>
                    <a:lnTo>
                      <a:pt x="44" y="160"/>
                    </a:lnTo>
                    <a:lnTo>
                      <a:pt x="40" y="161"/>
                    </a:lnTo>
                    <a:lnTo>
                      <a:pt x="34" y="155"/>
                    </a:lnTo>
                    <a:lnTo>
                      <a:pt x="35" y="149"/>
                    </a:lnTo>
                    <a:lnTo>
                      <a:pt x="39" y="149"/>
                    </a:lnTo>
                    <a:lnTo>
                      <a:pt x="44" y="146"/>
                    </a:lnTo>
                    <a:lnTo>
                      <a:pt x="46" y="143"/>
                    </a:lnTo>
                    <a:lnTo>
                      <a:pt x="46" y="136"/>
                    </a:lnTo>
                    <a:lnTo>
                      <a:pt x="46" y="132"/>
                    </a:lnTo>
                    <a:lnTo>
                      <a:pt x="44" y="127"/>
                    </a:lnTo>
                    <a:lnTo>
                      <a:pt x="39" y="131"/>
                    </a:lnTo>
                    <a:lnTo>
                      <a:pt x="35" y="132"/>
                    </a:lnTo>
                    <a:lnTo>
                      <a:pt x="32" y="134"/>
                    </a:lnTo>
                    <a:lnTo>
                      <a:pt x="28" y="139"/>
                    </a:lnTo>
                    <a:lnTo>
                      <a:pt x="25" y="136"/>
                    </a:lnTo>
                    <a:lnTo>
                      <a:pt x="22" y="136"/>
                    </a:lnTo>
                    <a:lnTo>
                      <a:pt x="18" y="138"/>
                    </a:lnTo>
                    <a:lnTo>
                      <a:pt x="11" y="138"/>
                    </a:lnTo>
                    <a:lnTo>
                      <a:pt x="6" y="131"/>
                    </a:lnTo>
                    <a:lnTo>
                      <a:pt x="6" y="127"/>
                    </a:lnTo>
                    <a:lnTo>
                      <a:pt x="1" y="126"/>
                    </a:lnTo>
                    <a:lnTo>
                      <a:pt x="0" y="122"/>
                    </a:lnTo>
                    <a:lnTo>
                      <a:pt x="3" y="117"/>
                    </a:lnTo>
                    <a:lnTo>
                      <a:pt x="8" y="117"/>
                    </a:lnTo>
                    <a:lnTo>
                      <a:pt x="15" y="110"/>
                    </a:lnTo>
                    <a:lnTo>
                      <a:pt x="15" y="105"/>
                    </a:lnTo>
                    <a:lnTo>
                      <a:pt x="18" y="107"/>
                    </a:lnTo>
                    <a:lnTo>
                      <a:pt x="23" y="107"/>
                    </a:lnTo>
                    <a:lnTo>
                      <a:pt x="27" y="104"/>
                    </a:lnTo>
                    <a:lnTo>
                      <a:pt x="28" y="100"/>
                    </a:lnTo>
                    <a:lnTo>
                      <a:pt x="28" y="95"/>
                    </a:lnTo>
                    <a:lnTo>
                      <a:pt x="28" y="92"/>
                    </a:lnTo>
                    <a:lnTo>
                      <a:pt x="32" y="95"/>
                    </a:lnTo>
                    <a:lnTo>
                      <a:pt x="32" y="99"/>
                    </a:lnTo>
                    <a:lnTo>
                      <a:pt x="34" y="102"/>
                    </a:lnTo>
                    <a:lnTo>
                      <a:pt x="32" y="105"/>
                    </a:lnTo>
                    <a:lnTo>
                      <a:pt x="35" y="107"/>
                    </a:lnTo>
                    <a:lnTo>
                      <a:pt x="35" y="99"/>
                    </a:lnTo>
                    <a:lnTo>
                      <a:pt x="35" y="95"/>
                    </a:lnTo>
                    <a:lnTo>
                      <a:pt x="40" y="95"/>
                    </a:lnTo>
                    <a:lnTo>
                      <a:pt x="46" y="97"/>
                    </a:lnTo>
                    <a:lnTo>
                      <a:pt x="44" y="92"/>
                    </a:lnTo>
                    <a:lnTo>
                      <a:pt x="39" y="87"/>
                    </a:lnTo>
                    <a:lnTo>
                      <a:pt x="35" y="83"/>
                    </a:lnTo>
                    <a:lnTo>
                      <a:pt x="32" y="80"/>
                    </a:lnTo>
                    <a:lnTo>
                      <a:pt x="27" y="78"/>
                    </a:lnTo>
                    <a:lnTo>
                      <a:pt x="22" y="77"/>
                    </a:lnTo>
                    <a:lnTo>
                      <a:pt x="23" y="73"/>
                    </a:lnTo>
                    <a:lnTo>
                      <a:pt x="23" y="68"/>
                    </a:lnTo>
                    <a:lnTo>
                      <a:pt x="25" y="65"/>
                    </a:lnTo>
                    <a:lnTo>
                      <a:pt x="30" y="61"/>
                    </a:lnTo>
                    <a:lnTo>
                      <a:pt x="30" y="58"/>
                    </a:lnTo>
                    <a:lnTo>
                      <a:pt x="35" y="56"/>
                    </a:lnTo>
                    <a:lnTo>
                      <a:pt x="35" y="49"/>
                    </a:lnTo>
                    <a:lnTo>
                      <a:pt x="37" y="46"/>
                    </a:lnTo>
                    <a:lnTo>
                      <a:pt x="37" y="41"/>
                    </a:lnTo>
                    <a:lnTo>
                      <a:pt x="39" y="37"/>
                    </a:lnTo>
                    <a:lnTo>
                      <a:pt x="42" y="36"/>
                    </a:lnTo>
                    <a:lnTo>
                      <a:pt x="47" y="34"/>
                    </a:lnTo>
                    <a:lnTo>
                      <a:pt x="49" y="31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9" y="37"/>
                    </a:lnTo>
                    <a:lnTo>
                      <a:pt x="56" y="34"/>
                    </a:lnTo>
                    <a:lnTo>
                      <a:pt x="56" y="29"/>
                    </a:lnTo>
                    <a:lnTo>
                      <a:pt x="63" y="26"/>
                    </a:lnTo>
                    <a:lnTo>
                      <a:pt x="64" y="29"/>
                    </a:lnTo>
                    <a:lnTo>
                      <a:pt x="68" y="27"/>
                    </a:lnTo>
                    <a:lnTo>
                      <a:pt x="73" y="27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1" y="27"/>
                    </a:lnTo>
                    <a:lnTo>
                      <a:pt x="85" y="27"/>
                    </a:lnTo>
                    <a:lnTo>
                      <a:pt x="86" y="32"/>
                    </a:lnTo>
                    <a:lnTo>
                      <a:pt x="85" y="37"/>
                    </a:lnTo>
                    <a:lnTo>
                      <a:pt x="90" y="37"/>
                    </a:lnTo>
                    <a:lnTo>
                      <a:pt x="93" y="36"/>
                    </a:lnTo>
                    <a:lnTo>
                      <a:pt x="93" y="32"/>
                    </a:lnTo>
                    <a:lnTo>
                      <a:pt x="97" y="31"/>
                    </a:lnTo>
                    <a:lnTo>
                      <a:pt x="100" y="34"/>
                    </a:lnTo>
                    <a:lnTo>
                      <a:pt x="100" y="37"/>
                    </a:lnTo>
                    <a:lnTo>
                      <a:pt x="103" y="37"/>
                    </a:lnTo>
                    <a:lnTo>
                      <a:pt x="103" y="43"/>
                    </a:lnTo>
                    <a:lnTo>
                      <a:pt x="107" y="44"/>
                    </a:lnTo>
                    <a:lnTo>
                      <a:pt x="105" y="48"/>
                    </a:lnTo>
                    <a:lnTo>
                      <a:pt x="107" y="51"/>
                    </a:lnTo>
                    <a:lnTo>
                      <a:pt x="115" y="51"/>
                    </a:lnTo>
                    <a:lnTo>
                      <a:pt x="120" y="51"/>
                    </a:lnTo>
                    <a:lnTo>
                      <a:pt x="124" y="49"/>
                    </a:lnTo>
                    <a:lnTo>
                      <a:pt x="122" y="46"/>
                    </a:lnTo>
                    <a:lnTo>
                      <a:pt x="124" y="41"/>
                    </a:lnTo>
                    <a:lnTo>
                      <a:pt x="127" y="41"/>
                    </a:lnTo>
                    <a:lnTo>
                      <a:pt x="134" y="37"/>
                    </a:lnTo>
                    <a:lnTo>
                      <a:pt x="136" y="34"/>
                    </a:lnTo>
                    <a:lnTo>
                      <a:pt x="132" y="31"/>
                    </a:lnTo>
                    <a:lnTo>
                      <a:pt x="136" y="26"/>
                    </a:lnTo>
                    <a:lnTo>
                      <a:pt x="134" y="21"/>
                    </a:lnTo>
                    <a:lnTo>
                      <a:pt x="134" y="17"/>
                    </a:lnTo>
                    <a:lnTo>
                      <a:pt x="134" y="14"/>
                    </a:lnTo>
                    <a:lnTo>
                      <a:pt x="137" y="10"/>
                    </a:lnTo>
                    <a:lnTo>
                      <a:pt x="137" y="5"/>
                    </a:lnTo>
                    <a:lnTo>
                      <a:pt x="141" y="2"/>
                    </a:lnTo>
                    <a:lnTo>
                      <a:pt x="144" y="0"/>
                    </a:lnTo>
                    <a:lnTo>
                      <a:pt x="148" y="0"/>
                    </a:lnTo>
                    <a:lnTo>
                      <a:pt x="153" y="2"/>
                    </a:lnTo>
                    <a:lnTo>
                      <a:pt x="159" y="5"/>
                    </a:lnTo>
                    <a:lnTo>
                      <a:pt x="165" y="7"/>
                    </a:lnTo>
                    <a:lnTo>
                      <a:pt x="168" y="10"/>
                    </a:lnTo>
                    <a:lnTo>
                      <a:pt x="173" y="12"/>
                    </a:lnTo>
                    <a:lnTo>
                      <a:pt x="178" y="14"/>
                    </a:lnTo>
                    <a:lnTo>
                      <a:pt x="185" y="19"/>
                    </a:lnTo>
                    <a:lnTo>
                      <a:pt x="192" y="26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9" y="37"/>
                    </a:lnTo>
                    <a:lnTo>
                      <a:pt x="212" y="41"/>
                    </a:lnTo>
                    <a:lnTo>
                      <a:pt x="216" y="43"/>
                    </a:lnTo>
                    <a:lnTo>
                      <a:pt x="222" y="48"/>
                    </a:lnTo>
                    <a:lnTo>
                      <a:pt x="226" y="51"/>
                    </a:lnTo>
                    <a:lnTo>
                      <a:pt x="231" y="56"/>
                    </a:lnTo>
                    <a:lnTo>
                      <a:pt x="234" y="60"/>
                    </a:lnTo>
                    <a:lnTo>
                      <a:pt x="238" y="63"/>
                    </a:lnTo>
                    <a:lnTo>
                      <a:pt x="243" y="66"/>
                    </a:lnTo>
                    <a:lnTo>
                      <a:pt x="250" y="71"/>
                    </a:lnTo>
                    <a:lnTo>
                      <a:pt x="253" y="73"/>
                    </a:lnTo>
                    <a:lnTo>
                      <a:pt x="260" y="78"/>
                    </a:lnTo>
                    <a:lnTo>
                      <a:pt x="268" y="85"/>
                    </a:lnTo>
                    <a:lnTo>
                      <a:pt x="272" y="88"/>
                    </a:lnTo>
                    <a:lnTo>
                      <a:pt x="277" y="92"/>
                    </a:lnTo>
                    <a:lnTo>
                      <a:pt x="280" y="95"/>
                    </a:lnTo>
                    <a:lnTo>
                      <a:pt x="284" y="97"/>
                    </a:lnTo>
                    <a:lnTo>
                      <a:pt x="289" y="100"/>
                    </a:lnTo>
                    <a:lnTo>
                      <a:pt x="292" y="102"/>
                    </a:lnTo>
                    <a:lnTo>
                      <a:pt x="297" y="104"/>
                    </a:lnTo>
                    <a:lnTo>
                      <a:pt x="304" y="105"/>
                    </a:lnTo>
                    <a:lnTo>
                      <a:pt x="307" y="109"/>
                    </a:lnTo>
                    <a:lnTo>
                      <a:pt x="311" y="110"/>
                    </a:lnTo>
                    <a:lnTo>
                      <a:pt x="314" y="112"/>
                    </a:lnTo>
                    <a:lnTo>
                      <a:pt x="318" y="116"/>
                    </a:lnTo>
                    <a:lnTo>
                      <a:pt x="325" y="116"/>
                    </a:lnTo>
                    <a:lnTo>
                      <a:pt x="328" y="117"/>
                    </a:lnTo>
                    <a:lnTo>
                      <a:pt x="333" y="117"/>
                    </a:lnTo>
                    <a:lnTo>
                      <a:pt x="335" y="112"/>
                    </a:lnTo>
                    <a:lnTo>
                      <a:pt x="338" y="112"/>
                    </a:lnTo>
                    <a:lnTo>
                      <a:pt x="336" y="109"/>
                    </a:lnTo>
                    <a:lnTo>
                      <a:pt x="342" y="112"/>
                    </a:lnTo>
                    <a:lnTo>
                      <a:pt x="345" y="116"/>
                    </a:lnTo>
                    <a:lnTo>
                      <a:pt x="350" y="119"/>
                    </a:lnTo>
                    <a:lnTo>
                      <a:pt x="353" y="122"/>
                    </a:lnTo>
                    <a:lnTo>
                      <a:pt x="355" y="126"/>
                    </a:lnTo>
                    <a:lnTo>
                      <a:pt x="357" y="131"/>
                    </a:lnTo>
                    <a:lnTo>
                      <a:pt x="364" y="132"/>
                    </a:lnTo>
                    <a:lnTo>
                      <a:pt x="369" y="136"/>
                    </a:lnTo>
                    <a:lnTo>
                      <a:pt x="370" y="139"/>
                    </a:lnTo>
                    <a:lnTo>
                      <a:pt x="369" y="143"/>
                    </a:lnTo>
                    <a:lnTo>
                      <a:pt x="370" y="148"/>
                    </a:lnTo>
                    <a:lnTo>
                      <a:pt x="369" y="151"/>
                    </a:lnTo>
                    <a:lnTo>
                      <a:pt x="370" y="155"/>
                    </a:lnTo>
                    <a:lnTo>
                      <a:pt x="374" y="160"/>
                    </a:lnTo>
                    <a:lnTo>
                      <a:pt x="376" y="163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2" name="Freeform 57">
                <a:extLst>
                  <a:ext uri="{FF2B5EF4-FFF2-40B4-BE49-F238E27FC236}">
                    <a16:creationId xmlns:a16="http://schemas.microsoft.com/office/drawing/2014/main" id="{1248153D-37E8-BF6B-BA5F-019651C0C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325" y="3032125"/>
                <a:ext cx="1093787" cy="877887"/>
              </a:xfrm>
              <a:custGeom>
                <a:avLst/>
                <a:gdLst>
                  <a:gd name="T0" fmla="*/ 256 w 689"/>
                  <a:gd name="T1" fmla="*/ 139 h 553"/>
                  <a:gd name="T2" fmla="*/ 279 w 689"/>
                  <a:gd name="T3" fmla="*/ 146 h 553"/>
                  <a:gd name="T4" fmla="*/ 303 w 689"/>
                  <a:gd name="T5" fmla="*/ 132 h 553"/>
                  <a:gd name="T6" fmla="*/ 327 w 689"/>
                  <a:gd name="T7" fmla="*/ 122 h 553"/>
                  <a:gd name="T8" fmla="*/ 347 w 689"/>
                  <a:gd name="T9" fmla="*/ 97 h 553"/>
                  <a:gd name="T10" fmla="*/ 371 w 689"/>
                  <a:gd name="T11" fmla="*/ 73 h 553"/>
                  <a:gd name="T12" fmla="*/ 405 w 689"/>
                  <a:gd name="T13" fmla="*/ 63 h 553"/>
                  <a:gd name="T14" fmla="*/ 441 w 689"/>
                  <a:gd name="T15" fmla="*/ 49 h 553"/>
                  <a:gd name="T16" fmla="*/ 466 w 689"/>
                  <a:gd name="T17" fmla="*/ 21 h 553"/>
                  <a:gd name="T18" fmla="*/ 495 w 689"/>
                  <a:gd name="T19" fmla="*/ 46 h 553"/>
                  <a:gd name="T20" fmla="*/ 494 w 689"/>
                  <a:gd name="T21" fmla="*/ 75 h 553"/>
                  <a:gd name="T22" fmla="*/ 455 w 689"/>
                  <a:gd name="T23" fmla="*/ 73 h 553"/>
                  <a:gd name="T24" fmla="*/ 448 w 689"/>
                  <a:gd name="T25" fmla="*/ 112 h 553"/>
                  <a:gd name="T26" fmla="*/ 449 w 689"/>
                  <a:gd name="T27" fmla="*/ 149 h 553"/>
                  <a:gd name="T28" fmla="*/ 470 w 689"/>
                  <a:gd name="T29" fmla="*/ 183 h 553"/>
                  <a:gd name="T30" fmla="*/ 504 w 689"/>
                  <a:gd name="T31" fmla="*/ 211 h 553"/>
                  <a:gd name="T32" fmla="*/ 480 w 689"/>
                  <a:gd name="T33" fmla="*/ 229 h 553"/>
                  <a:gd name="T34" fmla="*/ 436 w 689"/>
                  <a:gd name="T35" fmla="*/ 217 h 553"/>
                  <a:gd name="T36" fmla="*/ 415 w 689"/>
                  <a:gd name="T37" fmla="*/ 251 h 553"/>
                  <a:gd name="T38" fmla="*/ 444 w 689"/>
                  <a:gd name="T39" fmla="*/ 273 h 553"/>
                  <a:gd name="T40" fmla="*/ 487 w 689"/>
                  <a:gd name="T41" fmla="*/ 295 h 553"/>
                  <a:gd name="T42" fmla="*/ 507 w 689"/>
                  <a:gd name="T43" fmla="*/ 322 h 553"/>
                  <a:gd name="T44" fmla="*/ 536 w 689"/>
                  <a:gd name="T45" fmla="*/ 341 h 553"/>
                  <a:gd name="T46" fmla="*/ 574 w 689"/>
                  <a:gd name="T47" fmla="*/ 355 h 553"/>
                  <a:gd name="T48" fmla="*/ 606 w 689"/>
                  <a:gd name="T49" fmla="*/ 343 h 553"/>
                  <a:gd name="T50" fmla="*/ 642 w 689"/>
                  <a:gd name="T51" fmla="*/ 365 h 553"/>
                  <a:gd name="T52" fmla="*/ 677 w 689"/>
                  <a:gd name="T53" fmla="*/ 389 h 553"/>
                  <a:gd name="T54" fmla="*/ 688 w 689"/>
                  <a:gd name="T55" fmla="*/ 433 h 553"/>
                  <a:gd name="T56" fmla="*/ 667 w 689"/>
                  <a:gd name="T57" fmla="*/ 465 h 553"/>
                  <a:gd name="T58" fmla="*/ 654 w 689"/>
                  <a:gd name="T59" fmla="*/ 499 h 553"/>
                  <a:gd name="T60" fmla="*/ 640 w 689"/>
                  <a:gd name="T61" fmla="*/ 536 h 553"/>
                  <a:gd name="T62" fmla="*/ 597 w 689"/>
                  <a:gd name="T63" fmla="*/ 533 h 553"/>
                  <a:gd name="T64" fmla="*/ 572 w 689"/>
                  <a:gd name="T65" fmla="*/ 551 h 553"/>
                  <a:gd name="T66" fmla="*/ 524 w 689"/>
                  <a:gd name="T67" fmla="*/ 529 h 553"/>
                  <a:gd name="T68" fmla="*/ 483 w 689"/>
                  <a:gd name="T69" fmla="*/ 529 h 553"/>
                  <a:gd name="T70" fmla="*/ 439 w 689"/>
                  <a:gd name="T71" fmla="*/ 553 h 553"/>
                  <a:gd name="T72" fmla="*/ 412 w 689"/>
                  <a:gd name="T73" fmla="*/ 509 h 553"/>
                  <a:gd name="T74" fmla="*/ 368 w 689"/>
                  <a:gd name="T75" fmla="*/ 489 h 553"/>
                  <a:gd name="T76" fmla="*/ 325 w 689"/>
                  <a:gd name="T77" fmla="*/ 478 h 553"/>
                  <a:gd name="T78" fmla="*/ 295 w 689"/>
                  <a:gd name="T79" fmla="*/ 443 h 553"/>
                  <a:gd name="T80" fmla="*/ 247 w 689"/>
                  <a:gd name="T81" fmla="*/ 397 h 553"/>
                  <a:gd name="T82" fmla="*/ 208 w 689"/>
                  <a:gd name="T83" fmla="*/ 358 h 553"/>
                  <a:gd name="T84" fmla="*/ 181 w 689"/>
                  <a:gd name="T85" fmla="*/ 316 h 553"/>
                  <a:gd name="T86" fmla="*/ 140 w 689"/>
                  <a:gd name="T87" fmla="*/ 290 h 553"/>
                  <a:gd name="T88" fmla="*/ 97 w 689"/>
                  <a:gd name="T89" fmla="*/ 272 h 553"/>
                  <a:gd name="T90" fmla="*/ 79 w 689"/>
                  <a:gd name="T91" fmla="*/ 234 h 553"/>
                  <a:gd name="T92" fmla="*/ 48 w 689"/>
                  <a:gd name="T93" fmla="*/ 192 h 553"/>
                  <a:gd name="T94" fmla="*/ 0 w 689"/>
                  <a:gd name="T95" fmla="*/ 161 h 553"/>
                  <a:gd name="T96" fmla="*/ 39 w 689"/>
                  <a:gd name="T97" fmla="*/ 143 h 553"/>
                  <a:gd name="T98" fmla="*/ 29 w 689"/>
                  <a:gd name="T99" fmla="*/ 109 h 553"/>
                  <a:gd name="T100" fmla="*/ 62 w 689"/>
                  <a:gd name="T101" fmla="*/ 83 h 553"/>
                  <a:gd name="T102" fmla="*/ 84 w 689"/>
                  <a:gd name="T103" fmla="*/ 58 h 553"/>
                  <a:gd name="T104" fmla="*/ 80 w 689"/>
                  <a:gd name="T105" fmla="*/ 24 h 553"/>
                  <a:gd name="T106" fmla="*/ 94 w 689"/>
                  <a:gd name="T107" fmla="*/ 4 h 553"/>
                  <a:gd name="T108" fmla="*/ 128 w 689"/>
                  <a:gd name="T109" fmla="*/ 21 h 553"/>
                  <a:gd name="T110" fmla="*/ 131 w 689"/>
                  <a:gd name="T111" fmla="*/ 54 h 553"/>
                  <a:gd name="T112" fmla="*/ 174 w 689"/>
                  <a:gd name="T113" fmla="*/ 58 h 553"/>
                  <a:gd name="T114" fmla="*/ 204 w 689"/>
                  <a:gd name="T115" fmla="*/ 83 h 553"/>
                  <a:gd name="T116" fmla="*/ 218 w 689"/>
                  <a:gd name="T117" fmla="*/ 110 h 553"/>
                  <a:gd name="T118" fmla="*/ 249 w 689"/>
                  <a:gd name="T119" fmla="*/ 114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9" h="553">
                    <a:moveTo>
                      <a:pt x="249" y="114"/>
                    </a:moveTo>
                    <a:lnTo>
                      <a:pt x="252" y="116"/>
                    </a:lnTo>
                    <a:lnTo>
                      <a:pt x="252" y="119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0" y="127"/>
                    </a:lnTo>
                    <a:lnTo>
                      <a:pt x="250" y="131"/>
                    </a:lnTo>
                    <a:lnTo>
                      <a:pt x="252" y="136"/>
                    </a:lnTo>
                    <a:lnTo>
                      <a:pt x="250" y="139"/>
                    </a:lnTo>
                    <a:lnTo>
                      <a:pt x="256" y="139"/>
                    </a:lnTo>
                    <a:lnTo>
                      <a:pt x="259" y="138"/>
                    </a:lnTo>
                    <a:lnTo>
                      <a:pt x="262" y="136"/>
                    </a:lnTo>
                    <a:lnTo>
                      <a:pt x="266" y="139"/>
                    </a:lnTo>
                    <a:lnTo>
                      <a:pt x="262" y="144"/>
                    </a:lnTo>
                    <a:lnTo>
                      <a:pt x="259" y="148"/>
                    </a:lnTo>
                    <a:lnTo>
                      <a:pt x="264" y="148"/>
                    </a:lnTo>
                    <a:lnTo>
                      <a:pt x="267" y="146"/>
                    </a:lnTo>
                    <a:lnTo>
                      <a:pt x="271" y="146"/>
                    </a:lnTo>
                    <a:lnTo>
                      <a:pt x="274" y="146"/>
                    </a:lnTo>
                    <a:lnTo>
                      <a:pt x="279" y="146"/>
                    </a:lnTo>
                    <a:lnTo>
                      <a:pt x="278" y="151"/>
                    </a:lnTo>
                    <a:lnTo>
                      <a:pt x="279" y="156"/>
                    </a:lnTo>
                    <a:lnTo>
                      <a:pt x="283" y="160"/>
                    </a:lnTo>
                    <a:lnTo>
                      <a:pt x="284" y="156"/>
                    </a:lnTo>
                    <a:lnTo>
                      <a:pt x="291" y="151"/>
                    </a:lnTo>
                    <a:lnTo>
                      <a:pt x="295" y="149"/>
                    </a:lnTo>
                    <a:lnTo>
                      <a:pt x="300" y="146"/>
                    </a:lnTo>
                    <a:lnTo>
                      <a:pt x="303" y="141"/>
                    </a:lnTo>
                    <a:lnTo>
                      <a:pt x="303" y="138"/>
                    </a:lnTo>
                    <a:lnTo>
                      <a:pt x="303" y="132"/>
                    </a:lnTo>
                    <a:lnTo>
                      <a:pt x="303" y="129"/>
                    </a:lnTo>
                    <a:lnTo>
                      <a:pt x="305" y="126"/>
                    </a:lnTo>
                    <a:lnTo>
                      <a:pt x="305" y="121"/>
                    </a:lnTo>
                    <a:lnTo>
                      <a:pt x="308" y="121"/>
                    </a:lnTo>
                    <a:lnTo>
                      <a:pt x="310" y="124"/>
                    </a:lnTo>
                    <a:lnTo>
                      <a:pt x="313" y="129"/>
                    </a:lnTo>
                    <a:lnTo>
                      <a:pt x="317" y="131"/>
                    </a:lnTo>
                    <a:lnTo>
                      <a:pt x="320" y="129"/>
                    </a:lnTo>
                    <a:lnTo>
                      <a:pt x="324" y="126"/>
                    </a:lnTo>
                    <a:lnTo>
                      <a:pt x="327" y="122"/>
                    </a:lnTo>
                    <a:lnTo>
                      <a:pt x="332" y="122"/>
                    </a:lnTo>
                    <a:lnTo>
                      <a:pt x="335" y="119"/>
                    </a:lnTo>
                    <a:lnTo>
                      <a:pt x="332" y="116"/>
                    </a:lnTo>
                    <a:lnTo>
                      <a:pt x="329" y="112"/>
                    </a:lnTo>
                    <a:lnTo>
                      <a:pt x="329" y="109"/>
                    </a:lnTo>
                    <a:lnTo>
                      <a:pt x="335" y="105"/>
                    </a:lnTo>
                    <a:lnTo>
                      <a:pt x="339" y="104"/>
                    </a:lnTo>
                    <a:lnTo>
                      <a:pt x="344" y="104"/>
                    </a:lnTo>
                    <a:lnTo>
                      <a:pt x="344" y="97"/>
                    </a:lnTo>
                    <a:lnTo>
                      <a:pt x="347" y="97"/>
                    </a:lnTo>
                    <a:lnTo>
                      <a:pt x="351" y="95"/>
                    </a:lnTo>
                    <a:lnTo>
                      <a:pt x="354" y="97"/>
                    </a:lnTo>
                    <a:lnTo>
                      <a:pt x="359" y="92"/>
                    </a:lnTo>
                    <a:lnTo>
                      <a:pt x="363" y="88"/>
                    </a:lnTo>
                    <a:lnTo>
                      <a:pt x="366" y="87"/>
                    </a:lnTo>
                    <a:lnTo>
                      <a:pt x="370" y="85"/>
                    </a:lnTo>
                    <a:lnTo>
                      <a:pt x="375" y="85"/>
                    </a:lnTo>
                    <a:lnTo>
                      <a:pt x="375" y="80"/>
                    </a:lnTo>
                    <a:lnTo>
                      <a:pt x="371" y="77"/>
                    </a:lnTo>
                    <a:lnTo>
                      <a:pt x="371" y="73"/>
                    </a:lnTo>
                    <a:lnTo>
                      <a:pt x="370" y="68"/>
                    </a:lnTo>
                    <a:lnTo>
                      <a:pt x="375" y="66"/>
                    </a:lnTo>
                    <a:lnTo>
                      <a:pt x="380" y="68"/>
                    </a:lnTo>
                    <a:lnTo>
                      <a:pt x="383" y="70"/>
                    </a:lnTo>
                    <a:lnTo>
                      <a:pt x="385" y="66"/>
                    </a:lnTo>
                    <a:lnTo>
                      <a:pt x="388" y="65"/>
                    </a:lnTo>
                    <a:lnTo>
                      <a:pt x="392" y="65"/>
                    </a:lnTo>
                    <a:lnTo>
                      <a:pt x="397" y="65"/>
                    </a:lnTo>
                    <a:lnTo>
                      <a:pt x="400" y="65"/>
                    </a:lnTo>
                    <a:lnTo>
                      <a:pt x="405" y="63"/>
                    </a:lnTo>
                    <a:lnTo>
                      <a:pt x="405" y="60"/>
                    </a:lnTo>
                    <a:lnTo>
                      <a:pt x="409" y="58"/>
                    </a:lnTo>
                    <a:lnTo>
                      <a:pt x="414" y="61"/>
                    </a:lnTo>
                    <a:lnTo>
                      <a:pt x="417" y="61"/>
                    </a:lnTo>
                    <a:lnTo>
                      <a:pt x="421" y="58"/>
                    </a:lnTo>
                    <a:lnTo>
                      <a:pt x="426" y="58"/>
                    </a:lnTo>
                    <a:lnTo>
                      <a:pt x="429" y="54"/>
                    </a:lnTo>
                    <a:lnTo>
                      <a:pt x="431" y="51"/>
                    </a:lnTo>
                    <a:lnTo>
                      <a:pt x="436" y="49"/>
                    </a:lnTo>
                    <a:lnTo>
                      <a:pt x="441" y="49"/>
                    </a:lnTo>
                    <a:lnTo>
                      <a:pt x="444" y="46"/>
                    </a:lnTo>
                    <a:lnTo>
                      <a:pt x="446" y="39"/>
                    </a:lnTo>
                    <a:lnTo>
                      <a:pt x="446" y="36"/>
                    </a:lnTo>
                    <a:lnTo>
                      <a:pt x="448" y="31"/>
                    </a:lnTo>
                    <a:lnTo>
                      <a:pt x="448" y="27"/>
                    </a:lnTo>
                    <a:lnTo>
                      <a:pt x="448" y="21"/>
                    </a:lnTo>
                    <a:lnTo>
                      <a:pt x="453" y="22"/>
                    </a:lnTo>
                    <a:lnTo>
                      <a:pt x="460" y="24"/>
                    </a:lnTo>
                    <a:lnTo>
                      <a:pt x="465" y="24"/>
                    </a:lnTo>
                    <a:lnTo>
                      <a:pt x="466" y="21"/>
                    </a:lnTo>
                    <a:lnTo>
                      <a:pt x="470" y="17"/>
                    </a:lnTo>
                    <a:lnTo>
                      <a:pt x="473" y="17"/>
                    </a:lnTo>
                    <a:lnTo>
                      <a:pt x="477" y="21"/>
                    </a:lnTo>
                    <a:lnTo>
                      <a:pt x="482" y="24"/>
                    </a:lnTo>
                    <a:lnTo>
                      <a:pt x="485" y="27"/>
                    </a:lnTo>
                    <a:lnTo>
                      <a:pt x="489" y="31"/>
                    </a:lnTo>
                    <a:lnTo>
                      <a:pt x="492" y="32"/>
                    </a:lnTo>
                    <a:lnTo>
                      <a:pt x="492" y="38"/>
                    </a:lnTo>
                    <a:lnTo>
                      <a:pt x="490" y="41"/>
                    </a:lnTo>
                    <a:lnTo>
                      <a:pt x="495" y="46"/>
                    </a:lnTo>
                    <a:lnTo>
                      <a:pt x="499" y="48"/>
                    </a:lnTo>
                    <a:lnTo>
                      <a:pt x="502" y="49"/>
                    </a:lnTo>
                    <a:lnTo>
                      <a:pt x="507" y="51"/>
                    </a:lnTo>
                    <a:lnTo>
                      <a:pt x="507" y="54"/>
                    </a:lnTo>
                    <a:lnTo>
                      <a:pt x="504" y="60"/>
                    </a:lnTo>
                    <a:lnTo>
                      <a:pt x="502" y="63"/>
                    </a:lnTo>
                    <a:lnTo>
                      <a:pt x="504" y="68"/>
                    </a:lnTo>
                    <a:lnTo>
                      <a:pt x="502" y="71"/>
                    </a:lnTo>
                    <a:lnTo>
                      <a:pt x="497" y="73"/>
                    </a:lnTo>
                    <a:lnTo>
                      <a:pt x="494" y="75"/>
                    </a:lnTo>
                    <a:lnTo>
                      <a:pt x="490" y="75"/>
                    </a:lnTo>
                    <a:lnTo>
                      <a:pt x="487" y="73"/>
                    </a:lnTo>
                    <a:lnTo>
                      <a:pt x="483" y="75"/>
                    </a:lnTo>
                    <a:lnTo>
                      <a:pt x="480" y="77"/>
                    </a:lnTo>
                    <a:lnTo>
                      <a:pt x="475" y="73"/>
                    </a:lnTo>
                    <a:lnTo>
                      <a:pt x="470" y="73"/>
                    </a:lnTo>
                    <a:lnTo>
                      <a:pt x="466" y="77"/>
                    </a:lnTo>
                    <a:lnTo>
                      <a:pt x="463" y="75"/>
                    </a:lnTo>
                    <a:lnTo>
                      <a:pt x="458" y="75"/>
                    </a:lnTo>
                    <a:lnTo>
                      <a:pt x="455" y="73"/>
                    </a:lnTo>
                    <a:lnTo>
                      <a:pt x="451" y="73"/>
                    </a:lnTo>
                    <a:lnTo>
                      <a:pt x="451" y="77"/>
                    </a:lnTo>
                    <a:lnTo>
                      <a:pt x="448" y="80"/>
                    </a:lnTo>
                    <a:lnTo>
                      <a:pt x="448" y="85"/>
                    </a:lnTo>
                    <a:lnTo>
                      <a:pt x="446" y="88"/>
                    </a:lnTo>
                    <a:lnTo>
                      <a:pt x="443" y="93"/>
                    </a:lnTo>
                    <a:lnTo>
                      <a:pt x="446" y="99"/>
                    </a:lnTo>
                    <a:lnTo>
                      <a:pt x="449" y="104"/>
                    </a:lnTo>
                    <a:lnTo>
                      <a:pt x="448" y="109"/>
                    </a:lnTo>
                    <a:lnTo>
                      <a:pt x="448" y="112"/>
                    </a:lnTo>
                    <a:lnTo>
                      <a:pt x="444" y="117"/>
                    </a:lnTo>
                    <a:lnTo>
                      <a:pt x="439" y="119"/>
                    </a:lnTo>
                    <a:lnTo>
                      <a:pt x="434" y="124"/>
                    </a:lnTo>
                    <a:lnTo>
                      <a:pt x="439" y="126"/>
                    </a:lnTo>
                    <a:lnTo>
                      <a:pt x="444" y="132"/>
                    </a:lnTo>
                    <a:lnTo>
                      <a:pt x="449" y="136"/>
                    </a:lnTo>
                    <a:lnTo>
                      <a:pt x="455" y="139"/>
                    </a:lnTo>
                    <a:lnTo>
                      <a:pt x="456" y="143"/>
                    </a:lnTo>
                    <a:lnTo>
                      <a:pt x="453" y="146"/>
                    </a:lnTo>
                    <a:lnTo>
                      <a:pt x="449" y="149"/>
                    </a:lnTo>
                    <a:lnTo>
                      <a:pt x="446" y="155"/>
                    </a:lnTo>
                    <a:lnTo>
                      <a:pt x="449" y="156"/>
                    </a:lnTo>
                    <a:lnTo>
                      <a:pt x="453" y="160"/>
                    </a:lnTo>
                    <a:lnTo>
                      <a:pt x="456" y="163"/>
                    </a:lnTo>
                    <a:lnTo>
                      <a:pt x="461" y="165"/>
                    </a:lnTo>
                    <a:lnTo>
                      <a:pt x="465" y="166"/>
                    </a:lnTo>
                    <a:lnTo>
                      <a:pt x="466" y="170"/>
                    </a:lnTo>
                    <a:lnTo>
                      <a:pt x="466" y="177"/>
                    </a:lnTo>
                    <a:lnTo>
                      <a:pt x="466" y="180"/>
                    </a:lnTo>
                    <a:lnTo>
                      <a:pt x="470" y="183"/>
                    </a:lnTo>
                    <a:lnTo>
                      <a:pt x="473" y="185"/>
                    </a:lnTo>
                    <a:lnTo>
                      <a:pt x="478" y="188"/>
                    </a:lnTo>
                    <a:lnTo>
                      <a:pt x="478" y="192"/>
                    </a:lnTo>
                    <a:lnTo>
                      <a:pt x="483" y="195"/>
                    </a:lnTo>
                    <a:lnTo>
                      <a:pt x="487" y="197"/>
                    </a:lnTo>
                    <a:lnTo>
                      <a:pt x="490" y="197"/>
                    </a:lnTo>
                    <a:lnTo>
                      <a:pt x="495" y="199"/>
                    </a:lnTo>
                    <a:lnTo>
                      <a:pt x="495" y="204"/>
                    </a:lnTo>
                    <a:lnTo>
                      <a:pt x="497" y="207"/>
                    </a:lnTo>
                    <a:lnTo>
                      <a:pt x="504" y="211"/>
                    </a:lnTo>
                    <a:lnTo>
                      <a:pt x="507" y="214"/>
                    </a:lnTo>
                    <a:lnTo>
                      <a:pt x="504" y="214"/>
                    </a:lnTo>
                    <a:lnTo>
                      <a:pt x="501" y="216"/>
                    </a:lnTo>
                    <a:lnTo>
                      <a:pt x="501" y="219"/>
                    </a:lnTo>
                    <a:lnTo>
                      <a:pt x="495" y="219"/>
                    </a:lnTo>
                    <a:lnTo>
                      <a:pt x="495" y="222"/>
                    </a:lnTo>
                    <a:lnTo>
                      <a:pt x="490" y="224"/>
                    </a:lnTo>
                    <a:lnTo>
                      <a:pt x="489" y="229"/>
                    </a:lnTo>
                    <a:lnTo>
                      <a:pt x="483" y="231"/>
                    </a:lnTo>
                    <a:lnTo>
                      <a:pt x="480" y="229"/>
                    </a:lnTo>
                    <a:lnTo>
                      <a:pt x="477" y="233"/>
                    </a:lnTo>
                    <a:lnTo>
                      <a:pt x="472" y="233"/>
                    </a:lnTo>
                    <a:lnTo>
                      <a:pt x="466" y="227"/>
                    </a:lnTo>
                    <a:lnTo>
                      <a:pt x="463" y="227"/>
                    </a:lnTo>
                    <a:lnTo>
                      <a:pt x="460" y="224"/>
                    </a:lnTo>
                    <a:lnTo>
                      <a:pt x="456" y="226"/>
                    </a:lnTo>
                    <a:lnTo>
                      <a:pt x="451" y="224"/>
                    </a:lnTo>
                    <a:lnTo>
                      <a:pt x="448" y="222"/>
                    </a:lnTo>
                    <a:lnTo>
                      <a:pt x="443" y="219"/>
                    </a:lnTo>
                    <a:lnTo>
                      <a:pt x="436" y="217"/>
                    </a:lnTo>
                    <a:lnTo>
                      <a:pt x="432" y="217"/>
                    </a:lnTo>
                    <a:lnTo>
                      <a:pt x="432" y="222"/>
                    </a:lnTo>
                    <a:lnTo>
                      <a:pt x="432" y="226"/>
                    </a:lnTo>
                    <a:lnTo>
                      <a:pt x="432" y="229"/>
                    </a:lnTo>
                    <a:lnTo>
                      <a:pt x="429" y="233"/>
                    </a:lnTo>
                    <a:lnTo>
                      <a:pt x="426" y="238"/>
                    </a:lnTo>
                    <a:lnTo>
                      <a:pt x="419" y="239"/>
                    </a:lnTo>
                    <a:lnTo>
                      <a:pt x="419" y="243"/>
                    </a:lnTo>
                    <a:lnTo>
                      <a:pt x="415" y="248"/>
                    </a:lnTo>
                    <a:lnTo>
                      <a:pt x="415" y="251"/>
                    </a:lnTo>
                    <a:lnTo>
                      <a:pt x="415" y="258"/>
                    </a:lnTo>
                    <a:lnTo>
                      <a:pt x="417" y="261"/>
                    </a:lnTo>
                    <a:lnTo>
                      <a:pt x="421" y="266"/>
                    </a:lnTo>
                    <a:lnTo>
                      <a:pt x="424" y="270"/>
                    </a:lnTo>
                    <a:lnTo>
                      <a:pt x="426" y="275"/>
                    </a:lnTo>
                    <a:lnTo>
                      <a:pt x="429" y="277"/>
                    </a:lnTo>
                    <a:lnTo>
                      <a:pt x="434" y="277"/>
                    </a:lnTo>
                    <a:lnTo>
                      <a:pt x="436" y="273"/>
                    </a:lnTo>
                    <a:lnTo>
                      <a:pt x="439" y="272"/>
                    </a:lnTo>
                    <a:lnTo>
                      <a:pt x="444" y="273"/>
                    </a:lnTo>
                    <a:lnTo>
                      <a:pt x="449" y="275"/>
                    </a:lnTo>
                    <a:lnTo>
                      <a:pt x="453" y="278"/>
                    </a:lnTo>
                    <a:lnTo>
                      <a:pt x="456" y="280"/>
                    </a:lnTo>
                    <a:lnTo>
                      <a:pt x="463" y="282"/>
                    </a:lnTo>
                    <a:lnTo>
                      <a:pt x="466" y="283"/>
                    </a:lnTo>
                    <a:lnTo>
                      <a:pt x="472" y="285"/>
                    </a:lnTo>
                    <a:lnTo>
                      <a:pt x="475" y="289"/>
                    </a:lnTo>
                    <a:lnTo>
                      <a:pt x="478" y="289"/>
                    </a:lnTo>
                    <a:lnTo>
                      <a:pt x="482" y="290"/>
                    </a:lnTo>
                    <a:lnTo>
                      <a:pt x="487" y="295"/>
                    </a:lnTo>
                    <a:lnTo>
                      <a:pt x="490" y="294"/>
                    </a:lnTo>
                    <a:lnTo>
                      <a:pt x="497" y="297"/>
                    </a:lnTo>
                    <a:lnTo>
                      <a:pt x="501" y="300"/>
                    </a:lnTo>
                    <a:lnTo>
                      <a:pt x="504" y="304"/>
                    </a:lnTo>
                    <a:lnTo>
                      <a:pt x="507" y="302"/>
                    </a:lnTo>
                    <a:lnTo>
                      <a:pt x="512" y="307"/>
                    </a:lnTo>
                    <a:lnTo>
                      <a:pt x="514" y="311"/>
                    </a:lnTo>
                    <a:lnTo>
                      <a:pt x="512" y="316"/>
                    </a:lnTo>
                    <a:lnTo>
                      <a:pt x="511" y="319"/>
                    </a:lnTo>
                    <a:lnTo>
                      <a:pt x="507" y="322"/>
                    </a:lnTo>
                    <a:lnTo>
                      <a:pt x="511" y="326"/>
                    </a:lnTo>
                    <a:lnTo>
                      <a:pt x="511" y="331"/>
                    </a:lnTo>
                    <a:lnTo>
                      <a:pt x="511" y="336"/>
                    </a:lnTo>
                    <a:lnTo>
                      <a:pt x="514" y="339"/>
                    </a:lnTo>
                    <a:lnTo>
                      <a:pt x="518" y="339"/>
                    </a:lnTo>
                    <a:lnTo>
                      <a:pt x="518" y="336"/>
                    </a:lnTo>
                    <a:lnTo>
                      <a:pt x="524" y="334"/>
                    </a:lnTo>
                    <a:lnTo>
                      <a:pt x="528" y="336"/>
                    </a:lnTo>
                    <a:lnTo>
                      <a:pt x="533" y="338"/>
                    </a:lnTo>
                    <a:lnTo>
                      <a:pt x="536" y="341"/>
                    </a:lnTo>
                    <a:lnTo>
                      <a:pt x="541" y="344"/>
                    </a:lnTo>
                    <a:lnTo>
                      <a:pt x="548" y="344"/>
                    </a:lnTo>
                    <a:lnTo>
                      <a:pt x="550" y="348"/>
                    </a:lnTo>
                    <a:lnTo>
                      <a:pt x="552" y="351"/>
                    </a:lnTo>
                    <a:lnTo>
                      <a:pt x="555" y="355"/>
                    </a:lnTo>
                    <a:lnTo>
                      <a:pt x="558" y="358"/>
                    </a:lnTo>
                    <a:lnTo>
                      <a:pt x="563" y="358"/>
                    </a:lnTo>
                    <a:lnTo>
                      <a:pt x="567" y="360"/>
                    </a:lnTo>
                    <a:lnTo>
                      <a:pt x="570" y="356"/>
                    </a:lnTo>
                    <a:lnTo>
                      <a:pt x="574" y="355"/>
                    </a:lnTo>
                    <a:lnTo>
                      <a:pt x="579" y="351"/>
                    </a:lnTo>
                    <a:lnTo>
                      <a:pt x="582" y="348"/>
                    </a:lnTo>
                    <a:lnTo>
                      <a:pt x="584" y="343"/>
                    </a:lnTo>
                    <a:lnTo>
                      <a:pt x="586" y="339"/>
                    </a:lnTo>
                    <a:lnTo>
                      <a:pt x="589" y="339"/>
                    </a:lnTo>
                    <a:lnTo>
                      <a:pt x="594" y="341"/>
                    </a:lnTo>
                    <a:lnTo>
                      <a:pt x="596" y="344"/>
                    </a:lnTo>
                    <a:lnTo>
                      <a:pt x="601" y="346"/>
                    </a:lnTo>
                    <a:lnTo>
                      <a:pt x="603" y="343"/>
                    </a:lnTo>
                    <a:lnTo>
                      <a:pt x="606" y="343"/>
                    </a:lnTo>
                    <a:lnTo>
                      <a:pt x="608" y="346"/>
                    </a:lnTo>
                    <a:lnTo>
                      <a:pt x="611" y="350"/>
                    </a:lnTo>
                    <a:lnTo>
                      <a:pt x="613" y="353"/>
                    </a:lnTo>
                    <a:lnTo>
                      <a:pt x="614" y="356"/>
                    </a:lnTo>
                    <a:lnTo>
                      <a:pt x="620" y="360"/>
                    </a:lnTo>
                    <a:lnTo>
                      <a:pt x="623" y="360"/>
                    </a:lnTo>
                    <a:lnTo>
                      <a:pt x="630" y="356"/>
                    </a:lnTo>
                    <a:lnTo>
                      <a:pt x="633" y="360"/>
                    </a:lnTo>
                    <a:lnTo>
                      <a:pt x="637" y="363"/>
                    </a:lnTo>
                    <a:lnTo>
                      <a:pt x="642" y="365"/>
                    </a:lnTo>
                    <a:lnTo>
                      <a:pt x="649" y="365"/>
                    </a:lnTo>
                    <a:lnTo>
                      <a:pt x="652" y="363"/>
                    </a:lnTo>
                    <a:lnTo>
                      <a:pt x="655" y="368"/>
                    </a:lnTo>
                    <a:lnTo>
                      <a:pt x="659" y="368"/>
                    </a:lnTo>
                    <a:lnTo>
                      <a:pt x="660" y="372"/>
                    </a:lnTo>
                    <a:lnTo>
                      <a:pt x="662" y="377"/>
                    </a:lnTo>
                    <a:lnTo>
                      <a:pt x="666" y="380"/>
                    </a:lnTo>
                    <a:lnTo>
                      <a:pt x="669" y="380"/>
                    </a:lnTo>
                    <a:lnTo>
                      <a:pt x="674" y="385"/>
                    </a:lnTo>
                    <a:lnTo>
                      <a:pt x="677" y="389"/>
                    </a:lnTo>
                    <a:lnTo>
                      <a:pt x="677" y="392"/>
                    </a:lnTo>
                    <a:lnTo>
                      <a:pt x="681" y="400"/>
                    </a:lnTo>
                    <a:lnTo>
                      <a:pt x="684" y="406"/>
                    </a:lnTo>
                    <a:lnTo>
                      <a:pt x="684" y="411"/>
                    </a:lnTo>
                    <a:lnTo>
                      <a:pt x="683" y="416"/>
                    </a:lnTo>
                    <a:lnTo>
                      <a:pt x="684" y="419"/>
                    </a:lnTo>
                    <a:lnTo>
                      <a:pt x="688" y="421"/>
                    </a:lnTo>
                    <a:lnTo>
                      <a:pt x="689" y="426"/>
                    </a:lnTo>
                    <a:lnTo>
                      <a:pt x="684" y="429"/>
                    </a:lnTo>
                    <a:lnTo>
                      <a:pt x="688" y="433"/>
                    </a:lnTo>
                    <a:lnTo>
                      <a:pt x="688" y="438"/>
                    </a:lnTo>
                    <a:lnTo>
                      <a:pt x="684" y="438"/>
                    </a:lnTo>
                    <a:lnTo>
                      <a:pt x="679" y="443"/>
                    </a:lnTo>
                    <a:lnTo>
                      <a:pt x="677" y="446"/>
                    </a:lnTo>
                    <a:lnTo>
                      <a:pt x="683" y="450"/>
                    </a:lnTo>
                    <a:lnTo>
                      <a:pt x="681" y="453"/>
                    </a:lnTo>
                    <a:lnTo>
                      <a:pt x="679" y="456"/>
                    </a:lnTo>
                    <a:lnTo>
                      <a:pt x="676" y="456"/>
                    </a:lnTo>
                    <a:lnTo>
                      <a:pt x="671" y="462"/>
                    </a:lnTo>
                    <a:lnTo>
                      <a:pt x="667" y="465"/>
                    </a:lnTo>
                    <a:lnTo>
                      <a:pt x="664" y="468"/>
                    </a:lnTo>
                    <a:lnTo>
                      <a:pt x="657" y="472"/>
                    </a:lnTo>
                    <a:lnTo>
                      <a:pt x="654" y="472"/>
                    </a:lnTo>
                    <a:lnTo>
                      <a:pt x="650" y="475"/>
                    </a:lnTo>
                    <a:lnTo>
                      <a:pt x="652" y="478"/>
                    </a:lnTo>
                    <a:lnTo>
                      <a:pt x="654" y="482"/>
                    </a:lnTo>
                    <a:lnTo>
                      <a:pt x="657" y="485"/>
                    </a:lnTo>
                    <a:lnTo>
                      <a:pt x="654" y="489"/>
                    </a:lnTo>
                    <a:lnTo>
                      <a:pt x="654" y="492"/>
                    </a:lnTo>
                    <a:lnTo>
                      <a:pt x="654" y="499"/>
                    </a:lnTo>
                    <a:lnTo>
                      <a:pt x="654" y="502"/>
                    </a:lnTo>
                    <a:lnTo>
                      <a:pt x="655" y="506"/>
                    </a:lnTo>
                    <a:lnTo>
                      <a:pt x="660" y="509"/>
                    </a:lnTo>
                    <a:lnTo>
                      <a:pt x="659" y="516"/>
                    </a:lnTo>
                    <a:lnTo>
                      <a:pt x="652" y="519"/>
                    </a:lnTo>
                    <a:lnTo>
                      <a:pt x="647" y="521"/>
                    </a:lnTo>
                    <a:lnTo>
                      <a:pt x="643" y="523"/>
                    </a:lnTo>
                    <a:lnTo>
                      <a:pt x="645" y="528"/>
                    </a:lnTo>
                    <a:lnTo>
                      <a:pt x="645" y="533"/>
                    </a:lnTo>
                    <a:lnTo>
                      <a:pt x="640" y="536"/>
                    </a:lnTo>
                    <a:lnTo>
                      <a:pt x="637" y="536"/>
                    </a:lnTo>
                    <a:lnTo>
                      <a:pt x="631" y="536"/>
                    </a:lnTo>
                    <a:lnTo>
                      <a:pt x="628" y="543"/>
                    </a:lnTo>
                    <a:lnTo>
                      <a:pt x="623" y="543"/>
                    </a:lnTo>
                    <a:lnTo>
                      <a:pt x="620" y="540"/>
                    </a:lnTo>
                    <a:lnTo>
                      <a:pt x="616" y="536"/>
                    </a:lnTo>
                    <a:lnTo>
                      <a:pt x="611" y="534"/>
                    </a:lnTo>
                    <a:lnTo>
                      <a:pt x="608" y="536"/>
                    </a:lnTo>
                    <a:lnTo>
                      <a:pt x="603" y="536"/>
                    </a:lnTo>
                    <a:lnTo>
                      <a:pt x="597" y="533"/>
                    </a:lnTo>
                    <a:lnTo>
                      <a:pt x="592" y="533"/>
                    </a:lnTo>
                    <a:lnTo>
                      <a:pt x="589" y="533"/>
                    </a:lnTo>
                    <a:lnTo>
                      <a:pt x="586" y="534"/>
                    </a:lnTo>
                    <a:lnTo>
                      <a:pt x="580" y="538"/>
                    </a:lnTo>
                    <a:lnTo>
                      <a:pt x="575" y="541"/>
                    </a:lnTo>
                    <a:lnTo>
                      <a:pt x="575" y="545"/>
                    </a:lnTo>
                    <a:lnTo>
                      <a:pt x="575" y="550"/>
                    </a:lnTo>
                    <a:lnTo>
                      <a:pt x="579" y="551"/>
                    </a:lnTo>
                    <a:lnTo>
                      <a:pt x="575" y="553"/>
                    </a:lnTo>
                    <a:lnTo>
                      <a:pt x="572" y="551"/>
                    </a:lnTo>
                    <a:lnTo>
                      <a:pt x="567" y="550"/>
                    </a:lnTo>
                    <a:lnTo>
                      <a:pt x="563" y="548"/>
                    </a:lnTo>
                    <a:lnTo>
                      <a:pt x="557" y="546"/>
                    </a:lnTo>
                    <a:lnTo>
                      <a:pt x="553" y="543"/>
                    </a:lnTo>
                    <a:lnTo>
                      <a:pt x="548" y="543"/>
                    </a:lnTo>
                    <a:lnTo>
                      <a:pt x="545" y="540"/>
                    </a:lnTo>
                    <a:lnTo>
                      <a:pt x="541" y="538"/>
                    </a:lnTo>
                    <a:lnTo>
                      <a:pt x="531" y="533"/>
                    </a:lnTo>
                    <a:lnTo>
                      <a:pt x="528" y="531"/>
                    </a:lnTo>
                    <a:lnTo>
                      <a:pt x="524" y="529"/>
                    </a:lnTo>
                    <a:lnTo>
                      <a:pt x="521" y="528"/>
                    </a:lnTo>
                    <a:lnTo>
                      <a:pt x="516" y="528"/>
                    </a:lnTo>
                    <a:lnTo>
                      <a:pt x="511" y="526"/>
                    </a:lnTo>
                    <a:lnTo>
                      <a:pt x="506" y="526"/>
                    </a:lnTo>
                    <a:lnTo>
                      <a:pt x="502" y="524"/>
                    </a:lnTo>
                    <a:lnTo>
                      <a:pt x="499" y="524"/>
                    </a:lnTo>
                    <a:lnTo>
                      <a:pt x="494" y="526"/>
                    </a:lnTo>
                    <a:lnTo>
                      <a:pt x="490" y="529"/>
                    </a:lnTo>
                    <a:lnTo>
                      <a:pt x="487" y="529"/>
                    </a:lnTo>
                    <a:lnTo>
                      <a:pt x="483" y="529"/>
                    </a:lnTo>
                    <a:lnTo>
                      <a:pt x="480" y="529"/>
                    </a:lnTo>
                    <a:lnTo>
                      <a:pt x="473" y="533"/>
                    </a:lnTo>
                    <a:lnTo>
                      <a:pt x="470" y="533"/>
                    </a:lnTo>
                    <a:lnTo>
                      <a:pt x="465" y="536"/>
                    </a:lnTo>
                    <a:lnTo>
                      <a:pt x="460" y="540"/>
                    </a:lnTo>
                    <a:lnTo>
                      <a:pt x="455" y="543"/>
                    </a:lnTo>
                    <a:lnTo>
                      <a:pt x="451" y="546"/>
                    </a:lnTo>
                    <a:lnTo>
                      <a:pt x="449" y="550"/>
                    </a:lnTo>
                    <a:lnTo>
                      <a:pt x="443" y="553"/>
                    </a:lnTo>
                    <a:lnTo>
                      <a:pt x="439" y="553"/>
                    </a:lnTo>
                    <a:lnTo>
                      <a:pt x="434" y="551"/>
                    </a:lnTo>
                    <a:lnTo>
                      <a:pt x="432" y="548"/>
                    </a:lnTo>
                    <a:lnTo>
                      <a:pt x="432" y="545"/>
                    </a:lnTo>
                    <a:lnTo>
                      <a:pt x="432" y="541"/>
                    </a:lnTo>
                    <a:lnTo>
                      <a:pt x="429" y="536"/>
                    </a:lnTo>
                    <a:lnTo>
                      <a:pt x="427" y="533"/>
                    </a:lnTo>
                    <a:lnTo>
                      <a:pt x="426" y="529"/>
                    </a:lnTo>
                    <a:lnTo>
                      <a:pt x="421" y="521"/>
                    </a:lnTo>
                    <a:lnTo>
                      <a:pt x="417" y="516"/>
                    </a:lnTo>
                    <a:lnTo>
                      <a:pt x="412" y="509"/>
                    </a:lnTo>
                    <a:lnTo>
                      <a:pt x="409" y="506"/>
                    </a:lnTo>
                    <a:lnTo>
                      <a:pt x="405" y="502"/>
                    </a:lnTo>
                    <a:lnTo>
                      <a:pt x="400" y="499"/>
                    </a:lnTo>
                    <a:lnTo>
                      <a:pt x="395" y="497"/>
                    </a:lnTo>
                    <a:lnTo>
                      <a:pt x="392" y="494"/>
                    </a:lnTo>
                    <a:lnTo>
                      <a:pt x="385" y="490"/>
                    </a:lnTo>
                    <a:lnTo>
                      <a:pt x="381" y="489"/>
                    </a:lnTo>
                    <a:lnTo>
                      <a:pt x="376" y="489"/>
                    </a:lnTo>
                    <a:lnTo>
                      <a:pt x="373" y="489"/>
                    </a:lnTo>
                    <a:lnTo>
                      <a:pt x="368" y="489"/>
                    </a:lnTo>
                    <a:lnTo>
                      <a:pt x="363" y="489"/>
                    </a:lnTo>
                    <a:lnTo>
                      <a:pt x="359" y="490"/>
                    </a:lnTo>
                    <a:lnTo>
                      <a:pt x="354" y="489"/>
                    </a:lnTo>
                    <a:lnTo>
                      <a:pt x="351" y="485"/>
                    </a:lnTo>
                    <a:lnTo>
                      <a:pt x="346" y="482"/>
                    </a:lnTo>
                    <a:lnTo>
                      <a:pt x="341" y="478"/>
                    </a:lnTo>
                    <a:lnTo>
                      <a:pt x="337" y="478"/>
                    </a:lnTo>
                    <a:lnTo>
                      <a:pt x="334" y="477"/>
                    </a:lnTo>
                    <a:lnTo>
                      <a:pt x="329" y="477"/>
                    </a:lnTo>
                    <a:lnTo>
                      <a:pt x="325" y="478"/>
                    </a:lnTo>
                    <a:lnTo>
                      <a:pt x="320" y="482"/>
                    </a:lnTo>
                    <a:lnTo>
                      <a:pt x="318" y="477"/>
                    </a:lnTo>
                    <a:lnTo>
                      <a:pt x="317" y="473"/>
                    </a:lnTo>
                    <a:lnTo>
                      <a:pt x="313" y="470"/>
                    </a:lnTo>
                    <a:lnTo>
                      <a:pt x="310" y="462"/>
                    </a:lnTo>
                    <a:lnTo>
                      <a:pt x="307" y="458"/>
                    </a:lnTo>
                    <a:lnTo>
                      <a:pt x="303" y="455"/>
                    </a:lnTo>
                    <a:lnTo>
                      <a:pt x="300" y="450"/>
                    </a:lnTo>
                    <a:lnTo>
                      <a:pt x="296" y="446"/>
                    </a:lnTo>
                    <a:lnTo>
                      <a:pt x="295" y="443"/>
                    </a:lnTo>
                    <a:lnTo>
                      <a:pt x="291" y="439"/>
                    </a:lnTo>
                    <a:lnTo>
                      <a:pt x="288" y="434"/>
                    </a:lnTo>
                    <a:lnTo>
                      <a:pt x="283" y="431"/>
                    </a:lnTo>
                    <a:lnTo>
                      <a:pt x="278" y="424"/>
                    </a:lnTo>
                    <a:lnTo>
                      <a:pt x="269" y="414"/>
                    </a:lnTo>
                    <a:lnTo>
                      <a:pt x="264" y="411"/>
                    </a:lnTo>
                    <a:lnTo>
                      <a:pt x="261" y="407"/>
                    </a:lnTo>
                    <a:lnTo>
                      <a:pt x="257" y="404"/>
                    </a:lnTo>
                    <a:lnTo>
                      <a:pt x="250" y="399"/>
                    </a:lnTo>
                    <a:lnTo>
                      <a:pt x="247" y="397"/>
                    </a:lnTo>
                    <a:lnTo>
                      <a:pt x="239" y="392"/>
                    </a:lnTo>
                    <a:lnTo>
                      <a:pt x="235" y="390"/>
                    </a:lnTo>
                    <a:lnTo>
                      <a:pt x="227" y="385"/>
                    </a:lnTo>
                    <a:lnTo>
                      <a:pt x="222" y="383"/>
                    </a:lnTo>
                    <a:lnTo>
                      <a:pt x="216" y="382"/>
                    </a:lnTo>
                    <a:lnTo>
                      <a:pt x="211" y="380"/>
                    </a:lnTo>
                    <a:lnTo>
                      <a:pt x="211" y="377"/>
                    </a:lnTo>
                    <a:lnTo>
                      <a:pt x="210" y="372"/>
                    </a:lnTo>
                    <a:lnTo>
                      <a:pt x="210" y="367"/>
                    </a:lnTo>
                    <a:lnTo>
                      <a:pt x="208" y="358"/>
                    </a:lnTo>
                    <a:lnTo>
                      <a:pt x="206" y="355"/>
                    </a:lnTo>
                    <a:lnTo>
                      <a:pt x="204" y="350"/>
                    </a:lnTo>
                    <a:lnTo>
                      <a:pt x="203" y="346"/>
                    </a:lnTo>
                    <a:lnTo>
                      <a:pt x="201" y="343"/>
                    </a:lnTo>
                    <a:lnTo>
                      <a:pt x="199" y="339"/>
                    </a:lnTo>
                    <a:lnTo>
                      <a:pt x="198" y="334"/>
                    </a:lnTo>
                    <a:lnTo>
                      <a:pt x="194" y="329"/>
                    </a:lnTo>
                    <a:lnTo>
                      <a:pt x="189" y="324"/>
                    </a:lnTo>
                    <a:lnTo>
                      <a:pt x="184" y="317"/>
                    </a:lnTo>
                    <a:lnTo>
                      <a:pt x="181" y="316"/>
                    </a:lnTo>
                    <a:lnTo>
                      <a:pt x="176" y="316"/>
                    </a:lnTo>
                    <a:lnTo>
                      <a:pt x="172" y="312"/>
                    </a:lnTo>
                    <a:lnTo>
                      <a:pt x="167" y="309"/>
                    </a:lnTo>
                    <a:lnTo>
                      <a:pt x="164" y="307"/>
                    </a:lnTo>
                    <a:lnTo>
                      <a:pt x="160" y="304"/>
                    </a:lnTo>
                    <a:lnTo>
                      <a:pt x="157" y="299"/>
                    </a:lnTo>
                    <a:lnTo>
                      <a:pt x="152" y="295"/>
                    </a:lnTo>
                    <a:lnTo>
                      <a:pt x="147" y="294"/>
                    </a:lnTo>
                    <a:lnTo>
                      <a:pt x="143" y="294"/>
                    </a:lnTo>
                    <a:lnTo>
                      <a:pt x="140" y="290"/>
                    </a:lnTo>
                    <a:lnTo>
                      <a:pt x="136" y="285"/>
                    </a:lnTo>
                    <a:lnTo>
                      <a:pt x="130" y="282"/>
                    </a:lnTo>
                    <a:lnTo>
                      <a:pt x="126" y="280"/>
                    </a:lnTo>
                    <a:lnTo>
                      <a:pt x="119" y="278"/>
                    </a:lnTo>
                    <a:lnTo>
                      <a:pt x="116" y="280"/>
                    </a:lnTo>
                    <a:lnTo>
                      <a:pt x="109" y="282"/>
                    </a:lnTo>
                    <a:lnTo>
                      <a:pt x="104" y="283"/>
                    </a:lnTo>
                    <a:lnTo>
                      <a:pt x="102" y="278"/>
                    </a:lnTo>
                    <a:lnTo>
                      <a:pt x="101" y="275"/>
                    </a:lnTo>
                    <a:lnTo>
                      <a:pt x="97" y="272"/>
                    </a:lnTo>
                    <a:lnTo>
                      <a:pt x="97" y="266"/>
                    </a:lnTo>
                    <a:lnTo>
                      <a:pt x="92" y="263"/>
                    </a:lnTo>
                    <a:lnTo>
                      <a:pt x="89" y="261"/>
                    </a:lnTo>
                    <a:lnTo>
                      <a:pt x="87" y="255"/>
                    </a:lnTo>
                    <a:lnTo>
                      <a:pt x="85" y="251"/>
                    </a:lnTo>
                    <a:lnTo>
                      <a:pt x="82" y="250"/>
                    </a:lnTo>
                    <a:lnTo>
                      <a:pt x="80" y="246"/>
                    </a:lnTo>
                    <a:lnTo>
                      <a:pt x="79" y="243"/>
                    </a:lnTo>
                    <a:lnTo>
                      <a:pt x="77" y="239"/>
                    </a:lnTo>
                    <a:lnTo>
                      <a:pt x="79" y="234"/>
                    </a:lnTo>
                    <a:lnTo>
                      <a:pt x="75" y="231"/>
                    </a:lnTo>
                    <a:lnTo>
                      <a:pt x="72" y="227"/>
                    </a:lnTo>
                    <a:lnTo>
                      <a:pt x="70" y="224"/>
                    </a:lnTo>
                    <a:lnTo>
                      <a:pt x="68" y="219"/>
                    </a:lnTo>
                    <a:lnTo>
                      <a:pt x="67" y="216"/>
                    </a:lnTo>
                    <a:lnTo>
                      <a:pt x="65" y="211"/>
                    </a:lnTo>
                    <a:lnTo>
                      <a:pt x="58" y="204"/>
                    </a:lnTo>
                    <a:lnTo>
                      <a:pt x="56" y="200"/>
                    </a:lnTo>
                    <a:lnTo>
                      <a:pt x="53" y="197"/>
                    </a:lnTo>
                    <a:lnTo>
                      <a:pt x="48" y="192"/>
                    </a:lnTo>
                    <a:lnTo>
                      <a:pt x="45" y="188"/>
                    </a:lnTo>
                    <a:lnTo>
                      <a:pt x="41" y="187"/>
                    </a:lnTo>
                    <a:lnTo>
                      <a:pt x="38" y="183"/>
                    </a:lnTo>
                    <a:lnTo>
                      <a:pt x="31" y="178"/>
                    </a:lnTo>
                    <a:lnTo>
                      <a:pt x="26" y="177"/>
                    </a:lnTo>
                    <a:lnTo>
                      <a:pt x="17" y="171"/>
                    </a:lnTo>
                    <a:lnTo>
                      <a:pt x="14" y="170"/>
                    </a:lnTo>
                    <a:lnTo>
                      <a:pt x="9" y="168"/>
                    </a:lnTo>
                    <a:lnTo>
                      <a:pt x="2" y="165"/>
                    </a:lnTo>
                    <a:lnTo>
                      <a:pt x="0" y="161"/>
                    </a:lnTo>
                    <a:lnTo>
                      <a:pt x="2" y="156"/>
                    </a:lnTo>
                    <a:lnTo>
                      <a:pt x="5" y="153"/>
                    </a:lnTo>
                    <a:lnTo>
                      <a:pt x="7" y="148"/>
                    </a:lnTo>
                    <a:lnTo>
                      <a:pt x="7" y="144"/>
                    </a:lnTo>
                    <a:lnTo>
                      <a:pt x="12" y="143"/>
                    </a:lnTo>
                    <a:lnTo>
                      <a:pt x="16" y="143"/>
                    </a:lnTo>
                    <a:lnTo>
                      <a:pt x="21" y="143"/>
                    </a:lnTo>
                    <a:lnTo>
                      <a:pt x="24" y="141"/>
                    </a:lnTo>
                    <a:lnTo>
                      <a:pt x="34" y="143"/>
                    </a:lnTo>
                    <a:lnTo>
                      <a:pt x="39" y="143"/>
                    </a:lnTo>
                    <a:lnTo>
                      <a:pt x="43" y="143"/>
                    </a:lnTo>
                    <a:lnTo>
                      <a:pt x="43" y="139"/>
                    </a:lnTo>
                    <a:lnTo>
                      <a:pt x="41" y="132"/>
                    </a:lnTo>
                    <a:lnTo>
                      <a:pt x="43" y="129"/>
                    </a:lnTo>
                    <a:lnTo>
                      <a:pt x="43" y="124"/>
                    </a:lnTo>
                    <a:lnTo>
                      <a:pt x="38" y="122"/>
                    </a:lnTo>
                    <a:lnTo>
                      <a:pt x="34" y="119"/>
                    </a:lnTo>
                    <a:lnTo>
                      <a:pt x="31" y="116"/>
                    </a:lnTo>
                    <a:lnTo>
                      <a:pt x="28" y="112"/>
                    </a:lnTo>
                    <a:lnTo>
                      <a:pt x="29" y="109"/>
                    </a:lnTo>
                    <a:lnTo>
                      <a:pt x="33" y="105"/>
                    </a:lnTo>
                    <a:lnTo>
                      <a:pt x="33" y="99"/>
                    </a:lnTo>
                    <a:lnTo>
                      <a:pt x="34" y="95"/>
                    </a:lnTo>
                    <a:lnTo>
                      <a:pt x="38" y="95"/>
                    </a:lnTo>
                    <a:lnTo>
                      <a:pt x="43" y="95"/>
                    </a:lnTo>
                    <a:lnTo>
                      <a:pt x="48" y="95"/>
                    </a:lnTo>
                    <a:lnTo>
                      <a:pt x="51" y="92"/>
                    </a:lnTo>
                    <a:lnTo>
                      <a:pt x="56" y="92"/>
                    </a:lnTo>
                    <a:lnTo>
                      <a:pt x="58" y="88"/>
                    </a:lnTo>
                    <a:lnTo>
                      <a:pt x="62" y="83"/>
                    </a:lnTo>
                    <a:lnTo>
                      <a:pt x="65" y="82"/>
                    </a:lnTo>
                    <a:lnTo>
                      <a:pt x="68" y="80"/>
                    </a:lnTo>
                    <a:lnTo>
                      <a:pt x="74" y="78"/>
                    </a:lnTo>
                    <a:lnTo>
                      <a:pt x="75" y="71"/>
                    </a:lnTo>
                    <a:lnTo>
                      <a:pt x="80" y="71"/>
                    </a:lnTo>
                    <a:lnTo>
                      <a:pt x="84" y="70"/>
                    </a:lnTo>
                    <a:lnTo>
                      <a:pt x="89" y="68"/>
                    </a:lnTo>
                    <a:lnTo>
                      <a:pt x="91" y="65"/>
                    </a:lnTo>
                    <a:lnTo>
                      <a:pt x="89" y="60"/>
                    </a:lnTo>
                    <a:lnTo>
                      <a:pt x="84" y="58"/>
                    </a:lnTo>
                    <a:lnTo>
                      <a:pt x="84" y="54"/>
                    </a:lnTo>
                    <a:lnTo>
                      <a:pt x="84" y="51"/>
                    </a:lnTo>
                    <a:lnTo>
                      <a:pt x="82" y="46"/>
                    </a:lnTo>
                    <a:lnTo>
                      <a:pt x="87" y="44"/>
                    </a:lnTo>
                    <a:lnTo>
                      <a:pt x="89" y="38"/>
                    </a:lnTo>
                    <a:lnTo>
                      <a:pt x="92" y="32"/>
                    </a:lnTo>
                    <a:lnTo>
                      <a:pt x="89" y="29"/>
                    </a:lnTo>
                    <a:lnTo>
                      <a:pt x="85" y="29"/>
                    </a:lnTo>
                    <a:lnTo>
                      <a:pt x="82" y="27"/>
                    </a:lnTo>
                    <a:lnTo>
                      <a:pt x="80" y="24"/>
                    </a:lnTo>
                    <a:lnTo>
                      <a:pt x="77" y="21"/>
                    </a:lnTo>
                    <a:lnTo>
                      <a:pt x="72" y="19"/>
                    </a:lnTo>
                    <a:lnTo>
                      <a:pt x="74" y="14"/>
                    </a:lnTo>
                    <a:lnTo>
                      <a:pt x="75" y="10"/>
                    </a:lnTo>
                    <a:lnTo>
                      <a:pt x="79" y="7"/>
                    </a:lnTo>
                    <a:lnTo>
                      <a:pt x="82" y="7"/>
                    </a:lnTo>
                    <a:lnTo>
                      <a:pt x="87" y="12"/>
                    </a:lnTo>
                    <a:lnTo>
                      <a:pt x="91" y="9"/>
                    </a:lnTo>
                    <a:lnTo>
                      <a:pt x="89" y="5"/>
                    </a:lnTo>
                    <a:lnTo>
                      <a:pt x="94" y="4"/>
                    </a:lnTo>
                    <a:lnTo>
                      <a:pt x="97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109" y="0"/>
                    </a:lnTo>
                    <a:lnTo>
                      <a:pt x="113" y="0"/>
                    </a:lnTo>
                    <a:lnTo>
                      <a:pt x="114" y="5"/>
                    </a:lnTo>
                    <a:lnTo>
                      <a:pt x="118" y="10"/>
                    </a:lnTo>
                    <a:lnTo>
                      <a:pt x="119" y="17"/>
                    </a:lnTo>
                    <a:lnTo>
                      <a:pt x="123" y="21"/>
                    </a:lnTo>
                    <a:lnTo>
                      <a:pt x="128" y="21"/>
                    </a:lnTo>
                    <a:lnTo>
                      <a:pt x="133" y="24"/>
                    </a:lnTo>
                    <a:lnTo>
                      <a:pt x="135" y="27"/>
                    </a:lnTo>
                    <a:lnTo>
                      <a:pt x="131" y="31"/>
                    </a:lnTo>
                    <a:lnTo>
                      <a:pt x="130" y="36"/>
                    </a:lnTo>
                    <a:lnTo>
                      <a:pt x="125" y="38"/>
                    </a:lnTo>
                    <a:lnTo>
                      <a:pt x="121" y="41"/>
                    </a:lnTo>
                    <a:lnTo>
                      <a:pt x="119" y="44"/>
                    </a:lnTo>
                    <a:lnTo>
                      <a:pt x="125" y="48"/>
                    </a:lnTo>
                    <a:lnTo>
                      <a:pt x="125" y="51"/>
                    </a:lnTo>
                    <a:lnTo>
                      <a:pt x="131" y="54"/>
                    </a:lnTo>
                    <a:lnTo>
                      <a:pt x="136" y="56"/>
                    </a:lnTo>
                    <a:lnTo>
                      <a:pt x="140" y="58"/>
                    </a:lnTo>
                    <a:lnTo>
                      <a:pt x="147" y="63"/>
                    </a:lnTo>
                    <a:lnTo>
                      <a:pt x="150" y="65"/>
                    </a:lnTo>
                    <a:lnTo>
                      <a:pt x="157" y="63"/>
                    </a:lnTo>
                    <a:lnTo>
                      <a:pt x="160" y="61"/>
                    </a:lnTo>
                    <a:lnTo>
                      <a:pt x="164" y="61"/>
                    </a:lnTo>
                    <a:lnTo>
                      <a:pt x="167" y="58"/>
                    </a:lnTo>
                    <a:lnTo>
                      <a:pt x="170" y="63"/>
                    </a:lnTo>
                    <a:lnTo>
                      <a:pt x="174" y="58"/>
                    </a:lnTo>
                    <a:lnTo>
                      <a:pt x="179" y="60"/>
                    </a:lnTo>
                    <a:lnTo>
                      <a:pt x="181" y="54"/>
                    </a:lnTo>
                    <a:lnTo>
                      <a:pt x="184" y="54"/>
                    </a:lnTo>
                    <a:lnTo>
                      <a:pt x="191" y="58"/>
                    </a:lnTo>
                    <a:lnTo>
                      <a:pt x="198" y="63"/>
                    </a:lnTo>
                    <a:lnTo>
                      <a:pt x="199" y="66"/>
                    </a:lnTo>
                    <a:lnTo>
                      <a:pt x="204" y="68"/>
                    </a:lnTo>
                    <a:lnTo>
                      <a:pt x="201" y="75"/>
                    </a:lnTo>
                    <a:lnTo>
                      <a:pt x="204" y="78"/>
                    </a:lnTo>
                    <a:lnTo>
                      <a:pt x="204" y="83"/>
                    </a:lnTo>
                    <a:lnTo>
                      <a:pt x="203" y="87"/>
                    </a:lnTo>
                    <a:lnTo>
                      <a:pt x="204" y="90"/>
                    </a:lnTo>
                    <a:lnTo>
                      <a:pt x="210" y="93"/>
                    </a:lnTo>
                    <a:lnTo>
                      <a:pt x="213" y="92"/>
                    </a:lnTo>
                    <a:lnTo>
                      <a:pt x="215" y="97"/>
                    </a:lnTo>
                    <a:lnTo>
                      <a:pt x="213" y="100"/>
                    </a:lnTo>
                    <a:lnTo>
                      <a:pt x="211" y="104"/>
                    </a:lnTo>
                    <a:lnTo>
                      <a:pt x="216" y="105"/>
                    </a:lnTo>
                    <a:lnTo>
                      <a:pt x="213" y="109"/>
                    </a:lnTo>
                    <a:lnTo>
                      <a:pt x="218" y="110"/>
                    </a:lnTo>
                    <a:lnTo>
                      <a:pt x="222" y="114"/>
                    </a:lnTo>
                    <a:lnTo>
                      <a:pt x="218" y="116"/>
                    </a:lnTo>
                    <a:lnTo>
                      <a:pt x="222" y="117"/>
                    </a:lnTo>
                    <a:lnTo>
                      <a:pt x="225" y="116"/>
                    </a:lnTo>
                    <a:lnTo>
                      <a:pt x="230" y="117"/>
                    </a:lnTo>
                    <a:lnTo>
                      <a:pt x="233" y="121"/>
                    </a:lnTo>
                    <a:lnTo>
                      <a:pt x="237" y="122"/>
                    </a:lnTo>
                    <a:lnTo>
                      <a:pt x="240" y="119"/>
                    </a:lnTo>
                    <a:lnTo>
                      <a:pt x="242" y="114"/>
                    </a:lnTo>
                    <a:lnTo>
                      <a:pt x="249" y="114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3" name="Freeform 60">
                <a:extLst>
                  <a:ext uri="{FF2B5EF4-FFF2-40B4-BE49-F238E27FC236}">
                    <a16:creationId xmlns:a16="http://schemas.microsoft.com/office/drawing/2014/main" id="{E3DC811C-36AB-479B-AF79-D81569162B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0138" y="2959100"/>
                <a:ext cx="735012" cy="673100"/>
              </a:xfrm>
              <a:custGeom>
                <a:avLst/>
                <a:gdLst>
                  <a:gd name="T0" fmla="*/ 446 w 463"/>
                  <a:gd name="T1" fmla="*/ 267 h 424"/>
                  <a:gd name="T2" fmla="*/ 463 w 463"/>
                  <a:gd name="T3" fmla="*/ 290 h 424"/>
                  <a:gd name="T4" fmla="*/ 444 w 463"/>
                  <a:gd name="T5" fmla="*/ 311 h 424"/>
                  <a:gd name="T6" fmla="*/ 433 w 463"/>
                  <a:gd name="T7" fmla="*/ 336 h 424"/>
                  <a:gd name="T8" fmla="*/ 419 w 463"/>
                  <a:gd name="T9" fmla="*/ 355 h 424"/>
                  <a:gd name="T10" fmla="*/ 404 w 463"/>
                  <a:gd name="T11" fmla="*/ 375 h 424"/>
                  <a:gd name="T12" fmla="*/ 385 w 463"/>
                  <a:gd name="T13" fmla="*/ 389 h 424"/>
                  <a:gd name="T14" fmla="*/ 376 w 463"/>
                  <a:gd name="T15" fmla="*/ 362 h 424"/>
                  <a:gd name="T16" fmla="*/ 358 w 463"/>
                  <a:gd name="T17" fmla="*/ 351 h 424"/>
                  <a:gd name="T18" fmla="*/ 342 w 463"/>
                  <a:gd name="T19" fmla="*/ 346 h 424"/>
                  <a:gd name="T20" fmla="*/ 324 w 463"/>
                  <a:gd name="T21" fmla="*/ 353 h 424"/>
                  <a:gd name="T22" fmla="*/ 305 w 463"/>
                  <a:gd name="T23" fmla="*/ 375 h 424"/>
                  <a:gd name="T24" fmla="*/ 315 w 463"/>
                  <a:gd name="T25" fmla="*/ 399 h 424"/>
                  <a:gd name="T26" fmla="*/ 296 w 463"/>
                  <a:gd name="T27" fmla="*/ 401 h 424"/>
                  <a:gd name="T28" fmla="*/ 290 w 463"/>
                  <a:gd name="T29" fmla="*/ 406 h 424"/>
                  <a:gd name="T30" fmla="*/ 274 w 463"/>
                  <a:gd name="T31" fmla="*/ 418 h 424"/>
                  <a:gd name="T32" fmla="*/ 247 w 463"/>
                  <a:gd name="T33" fmla="*/ 423 h 424"/>
                  <a:gd name="T34" fmla="*/ 228 w 463"/>
                  <a:gd name="T35" fmla="*/ 411 h 424"/>
                  <a:gd name="T36" fmla="*/ 203 w 463"/>
                  <a:gd name="T37" fmla="*/ 406 h 424"/>
                  <a:gd name="T38" fmla="*/ 186 w 463"/>
                  <a:gd name="T39" fmla="*/ 392 h 424"/>
                  <a:gd name="T40" fmla="*/ 167 w 463"/>
                  <a:gd name="T41" fmla="*/ 394 h 424"/>
                  <a:gd name="T42" fmla="*/ 145 w 463"/>
                  <a:gd name="T43" fmla="*/ 404 h 424"/>
                  <a:gd name="T44" fmla="*/ 123 w 463"/>
                  <a:gd name="T45" fmla="*/ 389 h 424"/>
                  <a:gd name="T46" fmla="*/ 101 w 463"/>
                  <a:gd name="T47" fmla="*/ 387 h 424"/>
                  <a:gd name="T48" fmla="*/ 97 w 463"/>
                  <a:gd name="T49" fmla="*/ 362 h 424"/>
                  <a:gd name="T50" fmla="*/ 84 w 463"/>
                  <a:gd name="T51" fmla="*/ 345 h 424"/>
                  <a:gd name="T52" fmla="*/ 57 w 463"/>
                  <a:gd name="T53" fmla="*/ 331 h 424"/>
                  <a:gd name="T54" fmla="*/ 31 w 463"/>
                  <a:gd name="T55" fmla="*/ 319 h 424"/>
                  <a:gd name="T56" fmla="*/ 9 w 463"/>
                  <a:gd name="T57" fmla="*/ 319 h 424"/>
                  <a:gd name="T58" fmla="*/ 2 w 463"/>
                  <a:gd name="T59" fmla="*/ 292 h 424"/>
                  <a:gd name="T60" fmla="*/ 17 w 463"/>
                  <a:gd name="T61" fmla="*/ 268 h 424"/>
                  <a:gd name="T62" fmla="*/ 38 w 463"/>
                  <a:gd name="T63" fmla="*/ 272 h 424"/>
                  <a:gd name="T64" fmla="*/ 63 w 463"/>
                  <a:gd name="T65" fmla="*/ 277 h 424"/>
                  <a:gd name="T66" fmla="*/ 84 w 463"/>
                  <a:gd name="T67" fmla="*/ 265 h 424"/>
                  <a:gd name="T68" fmla="*/ 80 w 463"/>
                  <a:gd name="T69" fmla="*/ 245 h 424"/>
                  <a:gd name="T70" fmla="*/ 58 w 463"/>
                  <a:gd name="T71" fmla="*/ 231 h 424"/>
                  <a:gd name="T72" fmla="*/ 48 w 463"/>
                  <a:gd name="T73" fmla="*/ 211 h 424"/>
                  <a:gd name="T74" fmla="*/ 38 w 463"/>
                  <a:gd name="T75" fmla="*/ 192 h 424"/>
                  <a:gd name="T76" fmla="*/ 21 w 463"/>
                  <a:gd name="T77" fmla="*/ 170 h 424"/>
                  <a:gd name="T78" fmla="*/ 34 w 463"/>
                  <a:gd name="T79" fmla="*/ 146 h 424"/>
                  <a:gd name="T80" fmla="*/ 36 w 463"/>
                  <a:gd name="T81" fmla="*/ 119 h 424"/>
                  <a:gd name="T82" fmla="*/ 58 w 463"/>
                  <a:gd name="T83" fmla="*/ 119 h 424"/>
                  <a:gd name="T84" fmla="*/ 82 w 463"/>
                  <a:gd name="T85" fmla="*/ 119 h 424"/>
                  <a:gd name="T86" fmla="*/ 92 w 463"/>
                  <a:gd name="T87" fmla="*/ 97 h 424"/>
                  <a:gd name="T88" fmla="*/ 77 w 463"/>
                  <a:gd name="T89" fmla="*/ 80 h 424"/>
                  <a:gd name="T90" fmla="*/ 97 w 463"/>
                  <a:gd name="T91" fmla="*/ 77 h 424"/>
                  <a:gd name="T92" fmla="*/ 114 w 463"/>
                  <a:gd name="T93" fmla="*/ 58 h 424"/>
                  <a:gd name="T94" fmla="*/ 121 w 463"/>
                  <a:gd name="T95" fmla="*/ 33 h 424"/>
                  <a:gd name="T96" fmla="*/ 147 w 463"/>
                  <a:gd name="T97" fmla="*/ 36 h 424"/>
                  <a:gd name="T98" fmla="*/ 165 w 463"/>
                  <a:gd name="T99" fmla="*/ 21 h 424"/>
                  <a:gd name="T100" fmla="*/ 193 w 463"/>
                  <a:gd name="T101" fmla="*/ 9 h 424"/>
                  <a:gd name="T102" fmla="*/ 218 w 463"/>
                  <a:gd name="T103" fmla="*/ 0 h 424"/>
                  <a:gd name="T104" fmla="*/ 228 w 463"/>
                  <a:gd name="T105" fmla="*/ 36 h 424"/>
                  <a:gd name="T106" fmla="*/ 242 w 463"/>
                  <a:gd name="T107" fmla="*/ 61 h 424"/>
                  <a:gd name="T108" fmla="*/ 259 w 463"/>
                  <a:gd name="T109" fmla="*/ 89 h 424"/>
                  <a:gd name="T110" fmla="*/ 276 w 463"/>
                  <a:gd name="T111" fmla="*/ 114 h 424"/>
                  <a:gd name="T112" fmla="*/ 307 w 463"/>
                  <a:gd name="T113" fmla="*/ 145 h 424"/>
                  <a:gd name="T114" fmla="*/ 337 w 463"/>
                  <a:gd name="T115" fmla="*/ 168 h 424"/>
                  <a:gd name="T116" fmla="*/ 363 w 463"/>
                  <a:gd name="T117" fmla="*/ 190 h 424"/>
                  <a:gd name="T118" fmla="*/ 388 w 463"/>
                  <a:gd name="T119" fmla="*/ 217 h 424"/>
                  <a:gd name="T120" fmla="*/ 419 w 463"/>
                  <a:gd name="T121" fmla="*/ 233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3" h="424">
                    <a:moveTo>
                      <a:pt x="443" y="241"/>
                    </a:moveTo>
                    <a:lnTo>
                      <a:pt x="444" y="246"/>
                    </a:lnTo>
                    <a:lnTo>
                      <a:pt x="444" y="255"/>
                    </a:lnTo>
                    <a:lnTo>
                      <a:pt x="446" y="258"/>
                    </a:lnTo>
                    <a:lnTo>
                      <a:pt x="446" y="262"/>
                    </a:lnTo>
                    <a:lnTo>
                      <a:pt x="446" y="267"/>
                    </a:lnTo>
                    <a:lnTo>
                      <a:pt x="450" y="270"/>
                    </a:lnTo>
                    <a:lnTo>
                      <a:pt x="455" y="273"/>
                    </a:lnTo>
                    <a:lnTo>
                      <a:pt x="461" y="275"/>
                    </a:lnTo>
                    <a:lnTo>
                      <a:pt x="458" y="285"/>
                    </a:lnTo>
                    <a:lnTo>
                      <a:pt x="461" y="287"/>
                    </a:lnTo>
                    <a:lnTo>
                      <a:pt x="463" y="290"/>
                    </a:lnTo>
                    <a:lnTo>
                      <a:pt x="460" y="294"/>
                    </a:lnTo>
                    <a:lnTo>
                      <a:pt x="456" y="297"/>
                    </a:lnTo>
                    <a:lnTo>
                      <a:pt x="453" y="299"/>
                    </a:lnTo>
                    <a:lnTo>
                      <a:pt x="450" y="301"/>
                    </a:lnTo>
                    <a:lnTo>
                      <a:pt x="446" y="306"/>
                    </a:lnTo>
                    <a:lnTo>
                      <a:pt x="444" y="311"/>
                    </a:lnTo>
                    <a:lnTo>
                      <a:pt x="441" y="316"/>
                    </a:lnTo>
                    <a:lnTo>
                      <a:pt x="438" y="319"/>
                    </a:lnTo>
                    <a:lnTo>
                      <a:pt x="436" y="324"/>
                    </a:lnTo>
                    <a:lnTo>
                      <a:pt x="436" y="328"/>
                    </a:lnTo>
                    <a:lnTo>
                      <a:pt x="436" y="331"/>
                    </a:lnTo>
                    <a:lnTo>
                      <a:pt x="433" y="336"/>
                    </a:lnTo>
                    <a:lnTo>
                      <a:pt x="429" y="340"/>
                    </a:lnTo>
                    <a:lnTo>
                      <a:pt x="426" y="341"/>
                    </a:lnTo>
                    <a:lnTo>
                      <a:pt x="422" y="345"/>
                    </a:lnTo>
                    <a:lnTo>
                      <a:pt x="422" y="348"/>
                    </a:lnTo>
                    <a:lnTo>
                      <a:pt x="419" y="351"/>
                    </a:lnTo>
                    <a:lnTo>
                      <a:pt x="419" y="355"/>
                    </a:lnTo>
                    <a:lnTo>
                      <a:pt x="417" y="358"/>
                    </a:lnTo>
                    <a:lnTo>
                      <a:pt x="416" y="365"/>
                    </a:lnTo>
                    <a:lnTo>
                      <a:pt x="412" y="368"/>
                    </a:lnTo>
                    <a:lnTo>
                      <a:pt x="409" y="368"/>
                    </a:lnTo>
                    <a:lnTo>
                      <a:pt x="405" y="372"/>
                    </a:lnTo>
                    <a:lnTo>
                      <a:pt x="404" y="375"/>
                    </a:lnTo>
                    <a:lnTo>
                      <a:pt x="404" y="380"/>
                    </a:lnTo>
                    <a:lnTo>
                      <a:pt x="397" y="384"/>
                    </a:lnTo>
                    <a:lnTo>
                      <a:pt x="395" y="387"/>
                    </a:lnTo>
                    <a:lnTo>
                      <a:pt x="392" y="390"/>
                    </a:lnTo>
                    <a:lnTo>
                      <a:pt x="388" y="389"/>
                    </a:lnTo>
                    <a:lnTo>
                      <a:pt x="385" y="389"/>
                    </a:lnTo>
                    <a:lnTo>
                      <a:pt x="385" y="385"/>
                    </a:lnTo>
                    <a:lnTo>
                      <a:pt x="385" y="382"/>
                    </a:lnTo>
                    <a:lnTo>
                      <a:pt x="383" y="379"/>
                    </a:lnTo>
                    <a:lnTo>
                      <a:pt x="382" y="372"/>
                    </a:lnTo>
                    <a:lnTo>
                      <a:pt x="380" y="365"/>
                    </a:lnTo>
                    <a:lnTo>
                      <a:pt x="376" y="362"/>
                    </a:lnTo>
                    <a:lnTo>
                      <a:pt x="373" y="358"/>
                    </a:lnTo>
                    <a:lnTo>
                      <a:pt x="370" y="355"/>
                    </a:lnTo>
                    <a:lnTo>
                      <a:pt x="364" y="353"/>
                    </a:lnTo>
                    <a:lnTo>
                      <a:pt x="361" y="355"/>
                    </a:lnTo>
                    <a:lnTo>
                      <a:pt x="361" y="350"/>
                    </a:lnTo>
                    <a:lnTo>
                      <a:pt x="358" y="351"/>
                    </a:lnTo>
                    <a:lnTo>
                      <a:pt x="358" y="355"/>
                    </a:lnTo>
                    <a:lnTo>
                      <a:pt x="353" y="357"/>
                    </a:lnTo>
                    <a:lnTo>
                      <a:pt x="351" y="351"/>
                    </a:lnTo>
                    <a:lnTo>
                      <a:pt x="347" y="348"/>
                    </a:lnTo>
                    <a:lnTo>
                      <a:pt x="347" y="345"/>
                    </a:lnTo>
                    <a:lnTo>
                      <a:pt x="342" y="346"/>
                    </a:lnTo>
                    <a:lnTo>
                      <a:pt x="337" y="343"/>
                    </a:lnTo>
                    <a:lnTo>
                      <a:pt x="334" y="341"/>
                    </a:lnTo>
                    <a:lnTo>
                      <a:pt x="332" y="345"/>
                    </a:lnTo>
                    <a:lnTo>
                      <a:pt x="329" y="348"/>
                    </a:lnTo>
                    <a:lnTo>
                      <a:pt x="327" y="351"/>
                    </a:lnTo>
                    <a:lnTo>
                      <a:pt x="324" y="353"/>
                    </a:lnTo>
                    <a:lnTo>
                      <a:pt x="320" y="362"/>
                    </a:lnTo>
                    <a:lnTo>
                      <a:pt x="313" y="363"/>
                    </a:lnTo>
                    <a:lnTo>
                      <a:pt x="308" y="365"/>
                    </a:lnTo>
                    <a:lnTo>
                      <a:pt x="305" y="368"/>
                    </a:lnTo>
                    <a:lnTo>
                      <a:pt x="302" y="372"/>
                    </a:lnTo>
                    <a:lnTo>
                      <a:pt x="305" y="375"/>
                    </a:lnTo>
                    <a:lnTo>
                      <a:pt x="307" y="382"/>
                    </a:lnTo>
                    <a:lnTo>
                      <a:pt x="308" y="389"/>
                    </a:lnTo>
                    <a:lnTo>
                      <a:pt x="312" y="390"/>
                    </a:lnTo>
                    <a:lnTo>
                      <a:pt x="315" y="390"/>
                    </a:lnTo>
                    <a:lnTo>
                      <a:pt x="317" y="396"/>
                    </a:lnTo>
                    <a:lnTo>
                      <a:pt x="315" y="399"/>
                    </a:lnTo>
                    <a:lnTo>
                      <a:pt x="312" y="399"/>
                    </a:lnTo>
                    <a:lnTo>
                      <a:pt x="310" y="396"/>
                    </a:lnTo>
                    <a:lnTo>
                      <a:pt x="307" y="397"/>
                    </a:lnTo>
                    <a:lnTo>
                      <a:pt x="305" y="401"/>
                    </a:lnTo>
                    <a:lnTo>
                      <a:pt x="302" y="401"/>
                    </a:lnTo>
                    <a:lnTo>
                      <a:pt x="296" y="401"/>
                    </a:lnTo>
                    <a:lnTo>
                      <a:pt x="295" y="404"/>
                    </a:lnTo>
                    <a:lnTo>
                      <a:pt x="296" y="407"/>
                    </a:lnTo>
                    <a:lnTo>
                      <a:pt x="296" y="411"/>
                    </a:lnTo>
                    <a:lnTo>
                      <a:pt x="293" y="414"/>
                    </a:lnTo>
                    <a:lnTo>
                      <a:pt x="293" y="411"/>
                    </a:lnTo>
                    <a:lnTo>
                      <a:pt x="290" y="406"/>
                    </a:lnTo>
                    <a:lnTo>
                      <a:pt x="286" y="404"/>
                    </a:lnTo>
                    <a:lnTo>
                      <a:pt x="283" y="406"/>
                    </a:lnTo>
                    <a:lnTo>
                      <a:pt x="281" y="409"/>
                    </a:lnTo>
                    <a:lnTo>
                      <a:pt x="279" y="413"/>
                    </a:lnTo>
                    <a:lnTo>
                      <a:pt x="279" y="418"/>
                    </a:lnTo>
                    <a:lnTo>
                      <a:pt x="274" y="418"/>
                    </a:lnTo>
                    <a:lnTo>
                      <a:pt x="271" y="424"/>
                    </a:lnTo>
                    <a:lnTo>
                      <a:pt x="266" y="423"/>
                    </a:lnTo>
                    <a:lnTo>
                      <a:pt x="261" y="421"/>
                    </a:lnTo>
                    <a:lnTo>
                      <a:pt x="256" y="421"/>
                    </a:lnTo>
                    <a:lnTo>
                      <a:pt x="252" y="423"/>
                    </a:lnTo>
                    <a:lnTo>
                      <a:pt x="247" y="423"/>
                    </a:lnTo>
                    <a:lnTo>
                      <a:pt x="245" y="419"/>
                    </a:lnTo>
                    <a:lnTo>
                      <a:pt x="244" y="414"/>
                    </a:lnTo>
                    <a:lnTo>
                      <a:pt x="240" y="414"/>
                    </a:lnTo>
                    <a:lnTo>
                      <a:pt x="237" y="409"/>
                    </a:lnTo>
                    <a:lnTo>
                      <a:pt x="234" y="411"/>
                    </a:lnTo>
                    <a:lnTo>
                      <a:pt x="228" y="411"/>
                    </a:lnTo>
                    <a:lnTo>
                      <a:pt x="222" y="407"/>
                    </a:lnTo>
                    <a:lnTo>
                      <a:pt x="218" y="407"/>
                    </a:lnTo>
                    <a:lnTo>
                      <a:pt x="215" y="404"/>
                    </a:lnTo>
                    <a:lnTo>
                      <a:pt x="211" y="406"/>
                    </a:lnTo>
                    <a:lnTo>
                      <a:pt x="206" y="406"/>
                    </a:lnTo>
                    <a:lnTo>
                      <a:pt x="203" y="406"/>
                    </a:lnTo>
                    <a:lnTo>
                      <a:pt x="198" y="402"/>
                    </a:lnTo>
                    <a:lnTo>
                      <a:pt x="198" y="399"/>
                    </a:lnTo>
                    <a:lnTo>
                      <a:pt x="196" y="394"/>
                    </a:lnTo>
                    <a:lnTo>
                      <a:pt x="193" y="392"/>
                    </a:lnTo>
                    <a:lnTo>
                      <a:pt x="189" y="389"/>
                    </a:lnTo>
                    <a:lnTo>
                      <a:pt x="186" y="392"/>
                    </a:lnTo>
                    <a:lnTo>
                      <a:pt x="182" y="392"/>
                    </a:lnTo>
                    <a:lnTo>
                      <a:pt x="179" y="387"/>
                    </a:lnTo>
                    <a:lnTo>
                      <a:pt x="174" y="385"/>
                    </a:lnTo>
                    <a:lnTo>
                      <a:pt x="171" y="385"/>
                    </a:lnTo>
                    <a:lnTo>
                      <a:pt x="169" y="389"/>
                    </a:lnTo>
                    <a:lnTo>
                      <a:pt x="167" y="394"/>
                    </a:lnTo>
                    <a:lnTo>
                      <a:pt x="164" y="397"/>
                    </a:lnTo>
                    <a:lnTo>
                      <a:pt x="160" y="399"/>
                    </a:lnTo>
                    <a:lnTo>
                      <a:pt x="157" y="401"/>
                    </a:lnTo>
                    <a:lnTo>
                      <a:pt x="154" y="406"/>
                    </a:lnTo>
                    <a:lnTo>
                      <a:pt x="148" y="404"/>
                    </a:lnTo>
                    <a:lnTo>
                      <a:pt x="145" y="404"/>
                    </a:lnTo>
                    <a:lnTo>
                      <a:pt x="140" y="402"/>
                    </a:lnTo>
                    <a:lnTo>
                      <a:pt x="137" y="397"/>
                    </a:lnTo>
                    <a:lnTo>
                      <a:pt x="135" y="394"/>
                    </a:lnTo>
                    <a:lnTo>
                      <a:pt x="133" y="390"/>
                    </a:lnTo>
                    <a:lnTo>
                      <a:pt x="128" y="390"/>
                    </a:lnTo>
                    <a:lnTo>
                      <a:pt x="123" y="389"/>
                    </a:lnTo>
                    <a:lnTo>
                      <a:pt x="120" y="385"/>
                    </a:lnTo>
                    <a:lnTo>
                      <a:pt x="113" y="382"/>
                    </a:lnTo>
                    <a:lnTo>
                      <a:pt x="109" y="380"/>
                    </a:lnTo>
                    <a:lnTo>
                      <a:pt x="106" y="379"/>
                    </a:lnTo>
                    <a:lnTo>
                      <a:pt x="103" y="384"/>
                    </a:lnTo>
                    <a:lnTo>
                      <a:pt x="101" y="387"/>
                    </a:lnTo>
                    <a:lnTo>
                      <a:pt x="97" y="384"/>
                    </a:lnTo>
                    <a:lnTo>
                      <a:pt x="96" y="379"/>
                    </a:lnTo>
                    <a:lnTo>
                      <a:pt x="94" y="374"/>
                    </a:lnTo>
                    <a:lnTo>
                      <a:pt x="96" y="370"/>
                    </a:lnTo>
                    <a:lnTo>
                      <a:pt x="94" y="365"/>
                    </a:lnTo>
                    <a:lnTo>
                      <a:pt x="97" y="362"/>
                    </a:lnTo>
                    <a:lnTo>
                      <a:pt x="99" y="357"/>
                    </a:lnTo>
                    <a:lnTo>
                      <a:pt x="97" y="353"/>
                    </a:lnTo>
                    <a:lnTo>
                      <a:pt x="94" y="350"/>
                    </a:lnTo>
                    <a:lnTo>
                      <a:pt x="91" y="350"/>
                    </a:lnTo>
                    <a:lnTo>
                      <a:pt x="86" y="348"/>
                    </a:lnTo>
                    <a:lnTo>
                      <a:pt x="84" y="345"/>
                    </a:lnTo>
                    <a:lnTo>
                      <a:pt x="79" y="341"/>
                    </a:lnTo>
                    <a:lnTo>
                      <a:pt x="75" y="341"/>
                    </a:lnTo>
                    <a:lnTo>
                      <a:pt x="68" y="338"/>
                    </a:lnTo>
                    <a:lnTo>
                      <a:pt x="65" y="335"/>
                    </a:lnTo>
                    <a:lnTo>
                      <a:pt x="60" y="335"/>
                    </a:lnTo>
                    <a:lnTo>
                      <a:pt x="57" y="331"/>
                    </a:lnTo>
                    <a:lnTo>
                      <a:pt x="53" y="329"/>
                    </a:lnTo>
                    <a:lnTo>
                      <a:pt x="48" y="329"/>
                    </a:lnTo>
                    <a:lnTo>
                      <a:pt x="45" y="328"/>
                    </a:lnTo>
                    <a:lnTo>
                      <a:pt x="41" y="326"/>
                    </a:lnTo>
                    <a:lnTo>
                      <a:pt x="34" y="321"/>
                    </a:lnTo>
                    <a:lnTo>
                      <a:pt x="31" y="319"/>
                    </a:lnTo>
                    <a:lnTo>
                      <a:pt x="26" y="318"/>
                    </a:lnTo>
                    <a:lnTo>
                      <a:pt x="21" y="318"/>
                    </a:lnTo>
                    <a:lnTo>
                      <a:pt x="23" y="321"/>
                    </a:lnTo>
                    <a:lnTo>
                      <a:pt x="17" y="323"/>
                    </a:lnTo>
                    <a:lnTo>
                      <a:pt x="14" y="323"/>
                    </a:lnTo>
                    <a:lnTo>
                      <a:pt x="9" y="319"/>
                    </a:lnTo>
                    <a:lnTo>
                      <a:pt x="7" y="314"/>
                    </a:lnTo>
                    <a:lnTo>
                      <a:pt x="2" y="309"/>
                    </a:lnTo>
                    <a:lnTo>
                      <a:pt x="2" y="304"/>
                    </a:lnTo>
                    <a:lnTo>
                      <a:pt x="0" y="301"/>
                    </a:lnTo>
                    <a:lnTo>
                      <a:pt x="0" y="297"/>
                    </a:lnTo>
                    <a:lnTo>
                      <a:pt x="2" y="292"/>
                    </a:lnTo>
                    <a:lnTo>
                      <a:pt x="4" y="287"/>
                    </a:lnTo>
                    <a:lnTo>
                      <a:pt x="11" y="284"/>
                    </a:lnTo>
                    <a:lnTo>
                      <a:pt x="14" y="280"/>
                    </a:lnTo>
                    <a:lnTo>
                      <a:pt x="16" y="277"/>
                    </a:lnTo>
                    <a:lnTo>
                      <a:pt x="17" y="272"/>
                    </a:lnTo>
                    <a:lnTo>
                      <a:pt x="17" y="268"/>
                    </a:lnTo>
                    <a:lnTo>
                      <a:pt x="16" y="263"/>
                    </a:lnTo>
                    <a:lnTo>
                      <a:pt x="21" y="263"/>
                    </a:lnTo>
                    <a:lnTo>
                      <a:pt x="26" y="263"/>
                    </a:lnTo>
                    <a:lnTo>
                      <a:pt x="29" y="267"/>
                    </a:lnTo>
                    <a:lnTo>
                      <a:pt x="34" y="270"/>
                    </a:lnTo>
                    <a:lnTo>
                      <a:pt x="38" y="272"/>
                    </a:lnTo>
                    <a:lnTo>
                      <a:pt x="41" y="270"/>
                    </a:lnTo>
                    <a:lnTo>
                      <a:pt x="45" y="270"/>
                    </a:lnTo>
                    <a:lnTo>
                      <a:pt x="50" y="273"/>
                    </a:lnTo>
                    <a:lnTo>
                      <a:pt x="55" y="275"/>
                    </a:lnTo>
                    <a:lnTo>
                      <a:pt x="58" y="280"/>
                    </a:lnTo>
                    <a:lnTo>
                      <a:pt x="63" y="277"/>
                    </a:lnTo>
                    <a:lnTo>
                      <a:pt x="67" y="277"/>
                    </a:lnTo>
                    <a:lnTo>
                      <a:pt x="74" y="275"/>
                    </a:lnTo>
                    <a:lnTo>
                      <a:pt x="75" y="272"/>
                    </a:lnTo>
                    <a:lnTo>
                      <a:pt x="79" y="270"/>
                    </a:lnTo>
                    <a:lnTo>
                      <a:pt x="79" y="265"/>
                    </a:lnTo>
                    <a:lnTo>
                      <a:pt x="84" y="265"/>
                    </a:lnTo>
                    <a:lnTo>
                      <a:pt x="82" y="260"/>
                    </a:lnTo>
                    <a:lnTo>
                      <a:pt x="87" y="262"/>
                    </a:lnTo>
                    <a:lnTo>
                      <a:pt x="91" y="260"/>
                    </a:lnTo>
                    <a:lnTo>
                      <a:pt x="86" y="257"/>
                    </a:lnTo>
                    <a:lnTo>
                      <a:pt x="80" y="250"/>
                    </a:lnTo>
                    <a:lnTo>
                      <a:pt x="80" y="245"/>
                    </a:lnTo>
                    <a:lnTo>
                      <a:pt x="77" y="243"/>
                    </a:lnTo>
                    <a:lnTo>
                      <a:pt x="72" y="243"/>
                    </a:lnTo>
                    <a:lnTo>
                      <a:pt x="68" y="243"/>
                    </a:lnTo>
                    <a:lnTo>
                      <a:pt x="65" y="240"/>
                    </a:lnTo>
                    <a:lnTo>
                      <a:pt x="63" y="236"/>
                    </a:lnTo>
                    <a:lnTo>
                      <a:pt x="58" y="231"/>
                    </a:lnTo>
                    <a:lnTo>
                      <a:pt x="55" y="229"/>
                    </a:lnTo>
                    <a:lnTo>
                      <a:pt x="51" y="226"/>
                    </a:lnTo>
                    <a:lnTo>
                      <a:pt x="51" y="223"/>
                    </a:lnTo>
                    <a:lnTo>
                      <a:pt x="51" y="217"/>
                    </a:lnTo>
                    <a:lnTo>
                      <a:pt x="51" y="214"/>
                    </a:lnTo>
                    <a:lnTo>
                      <a:pt x="48" y="211"/>
                    </a:lnTo>
                    <a:lnTo>
                      <a:pt x="43" y="209"/>
                    </a:lnTo>
                    <a:lnTo>
                      <a:pt x="40" y="207"/>
                    </a:lnTo>
                    <a:lnTo>
                      <a:pt x="34" y="202"/>
                    </a:lnTo>
                    <a:lnTo>
                      <a:pt x="31" y="201"/>
                    </a:lnTo>
                    <a:lnTo>
                      <a:pt x="33" y="195"/>
                    </a:lnTo>
                    <a:lnTo>
                      <a:pt x="38" y="192"/>
                    </a:lnTo>
                    <a:lnTo>
                      <a:pt x="41" y="189"/>
                    </a:lnTo>
                    <a:lnTo>
                      <a:pt x="40" y="185"/>
                    </a:lnTo>
                    <a:lnTo>
                      <a:pt x="36" y="182"/>
                    </a:lnTo>
                    <a:lnTo>
                      <a:pt x="31" y="182"/>
                    </a:lnTo>
                    <a:lnTo>
                      <a:pt x="26" y="175"/>
                    </a:lnTo>
                    <a:lnTo>
                      <a:pt x="21" y="170"/>
                    </a:lnTo>
                    <a:lnTo>
                      <a:pt x="21" y="167"/>
                    </a:lnTo>
                    <a:lnTo>
                      <a:pt x="26" y="163"/>
                    </a:lnTo>
                    <a:lnTo>
                      <a:pt x="33" y="158"/>
                    </a:lnTo>
                    <a:lnTo>
                      <a:pt x="33" y="155"/>
                    </a:lnTo>
                    <a:lnTo>
                      <a:pt x="34" y="150"/>
                    </a:lnTo>
                    <a:lnTo>
                      <a:pt x="34" y="146"/>
                    </a:lnTo>
                    <a:lnTo>
                      <a:pt x="29" y="141"/>
                    </a:lnTo>
                    <a:lnTo>
                      <a:pt x="28" y="138"/>
                    </a:lnTo>
                    <a:lnTo>
                      <a:pt x="33" y="131"/>
                    </a:lnTo>
                    <a:lnTo>
                      <a:pt x="33" y="128"/>
                    </a:lnTo>
                    <a:lnTo>
                      <a:pt x="36" y="123"/>
                    </a:lnTo>
                    <a:lnTo>
                      <a:pt x="36" y="119"/>
                    </a:lnTo>
                    <a:lnTo>
                      <a:pt x="40" y="119"/>
                    </a:lnTo>
                    <a:lnTo>
                      <a:pt x="43" y="121"/>
                    </a:lnTo>
                    <a:lnTo>
                      <a:pt x="48" y="121"/>
                    </a:lnTo>
                    <a:lnTo>
                      <a:pt x="51" y="123"/>
                    </a:lnTo>
                    <a:lnTo>
                      <a:pt x="53" y="119"/>
                    </a:lnTo>
                    <a:lnTo>
                      <a:pt x="58" y="119"/>
                    </a:lnTo>
                    <a:lnTo>
                      <a:pt x="62" y="123"/>
                    </a:lnTo>
                    <a:lnTo>
                      <a:pt x="67" y="123"/>
                    </a:lnTo>
                    <a:lnTo>
                      <a:pt x="70" y="121"/>
                    </a:lnTo>
                    <a:lnTo>
                      <a:pt x="74" y="119"/>
                    </a:lnTo>
                    <a:lnTo>
                      <a:pt x="79" y="121"/>
                    </a:lnTo>
                    <a:lnTo>
                      <a:pt x="82" y="119"/>
                    </a:lnTo>
                    <a:lnTo>
                      <a:pt x="86" y="117"/>
                    </a:lnTo>
                    <a:lnTo>
                      <a:pt x="89" y="114"/>
                    </a:lnTo>
                    <a:lnTo>
                      <a:pt x="87" y="111"/>
                    </a:lnTo>
                    <a:lnTo>
                      <a:pt x="89" y="106"/>
                    </a:lnTo>
                    <a:lnTo>
                      <a:pt x="92" y="100"/>
                    </a:lnTo>
                    <a:lnTo>
                      <a:pt x="92" y="97"/>
                    </a:lnTo>
                    <a:lnTo>
                      <a:pt x="87" y="95"/>
                    </a:lnTo>
                    <a:lnTo>
                      <a:pt x="84" y="94"/>
                    </a:lnTo>
                    <a:lnTo>
                      <a:pt x="80" y="92"/>
                    </a:lnTo>
                    <a:lnTo>
                      <a:pt x="77" y="89"/>
                    </a:lnTo>
                    <a:lnTo>
                      <a:pt x="75" y="84"/>
                    </a:lnTo>
                    <a:lnTo>
                      <a:pt x="77" y="80"/>
                    </a:lnTo>
                    <a:lnTo>
                      <a:pt x="74" y="77"/>
                    </a:lnTo>
                    <a:lnTo>
                      <a:pt x="77" y="78"/>
                    </a:lnTo>
                    <a:lnTo>
                      <a:pt x="84" y="80"/>
                    </a:lnTo>
                    <a:lnTo>
                      <a:pt x="89" y="80"/>
                    </a:lnTo>
                    <a:lnTo>
                      <a:pt x="94" y="75"/>
                    </a:lnTo>
                    <a:lnTo>
                      <a:pt x="97" y="77"/>
                    </a:lnTo>
                    <a:lnTo>
                      <a:pt x="99" y="72"/>
                    </a:lnTo>
                    <a:lnTo>
                      <a:pt x="99" y="67"/>
                    </a:lnTo>
                    <a:lnTo>
                      <a:pt x="104" y="63"/>
                    </a:lnTo>
                    <a:lnTo>
                      <a:pt x="109" y="63"/>
                    </a:lnTo>
                    <a:lnTo>
                      <a:pt x="113" y="61"/>
                    </a:lnTo>
                    <a:lnTo>
                      <a:pt x="114" y="58"/>
                    </a:lnTo>
                    <a:lnTo>
                      <a:pt x="114" y="55"/>
                    </a:lnTo>
                    <a:lnTo>
                      <a:pt x="114" y="50"/>
                    </a:lnTo>
                    <a:lnTo>
                      <a:pt x="116" y="45"/>
                    </a:lnTo>
                    <a:lnTo>
                      <a:pt x="120" y="41"/>
                    </a:lnTo>
                    <a:lnTo>
                      <a:pt x="121" y="36"/>
                    </a:lnTo>
                    <a:lnTo>
                      <a:pt x="121" y="33"/>
                    </a:lnTo>
                    <a:lnTo>
                      <a:pt x="125" y="34"/>
                    </a:lnTo>
                    <a:lnTo>
                      <a:pt x="131" y="39"/>
                    </a:lnTo>
                    <a:lnTo>
                      <a:pt x="137" y="36"/>
                    </a:lnTo>
                    <a:lnTo>
                      <a:pt x="142" y="34"/>
                    </a:lnTo>
                    <a:lnTo>
                      <a:pt x="145" y="33"/>
                    </a:lnTo>
                    <a:lnTo>
                      <a:pt x="147" y="36"/>
                    </a:lnTo>
                    <a:lnTo>
                      <a:pt x="150" y="36"/>
                    </a:lnTo>
                    <a:lnTo>
                      <a:pt x="154" y="36"/>
                    </a:lnTo>
                    <a:lnTo>
                      <a:pt x="159" y="33"/>
                    </a:lnTo>
                    <a:lnTo>
                      <a:pt x="162" y="29"/>
                    </a:lnTo>
                    <a:lnTo>
                      <a:pt x="165" y="24"/>
                    </a:lnTo>
                    <a:lnTo>
                      <a:pt x="165" y="21"/>
                    </a:lnTo>
                    <a:lnTo>
                      <a:pt x="169" y="17"/>
                    </a:lnTo>
                    <a:lnTo>
                      <a:pt x="174" y="16"/>
                    </a:lnTo>
                    <a:lnTo>
                      <a:pt x="179" y="16"/>
                    </a:lnTo>
                    <a:lnTo>
                      <a:pt x="182" y="16"/>
                    </a:lnTo>
                    <a:lnTo>
                      <a:pt x="189" y="12"/>
                    </a:lnTo>
                    <a:lnTo>
                      <a:pt x="193" y="9"/>
                    </a:lnTo>
                    <a:lnTo>
                      <a:pt x="198" y="6"/>
                    </a:lnTo>
                    <a:lnTo>
                      <a:pt x="201" y="6"/>
                    </a:lnTo>
                    <a:lnTo>
                      <a:pt x="208" y="2"/>
                    </a:lnTo>
                    <a:lnTo>
                      <a:pt x="211" y="2"/>
                    </a:lnTo>
                    <a:lnTo>
                      <a:pt x="215" y="0"/>
                    </a:lnTo>
                    <a:lnTo>
                      <a:pt x="218" y="0"/>
                    </a:lnTo>
                    <a:lnTo>
                      <a:pt x="220" y="2"/>
                    </a:lnTo>
                    <a:lnTo>
                      <a:pt x="222" y="12"/>
                    </a:lnTo>
                    <a:lnTo>
                      <a:pt x="223" y="19"/>
                    </a:lnTo>
                    <a:lnTo>
                      <a:pt x="227" y="29"/>
                    </a:lnTo>
                    <a:lnTo>
                      <a:pt x="228" y="33"/>
                    </a:lnTo>
                    <a:lnTo>
                      <a:pt x="228" y="36"/>
                    </a:lnTo>
                    <a:lnTo>
                      <a:pt x="232" y="39"/>
                    </a:lnTo>
                    <a:lnTo>
                      <a:pt x="234" y="43"/>
                    </a:lnTo>
                    <a:lnTo>
                      <a:pt x="235" y="50"/>
                    </a:lnTo>
                    <a:lnTo>
                      <a:pt x="239" y="53"/>
                    </a:lnTo>
                    <a:lnTo>
                      <a:pt x="239" y="56"/>
                    </a:lnTo>
                    <a:lnTo>
                      <a:pt x="242" y="61"/>
                    </a:lnTo>
                    <a:lnTo>
                      <a:pt x="245" y="68"/>
                    </a:lnTo>
                    <a:lnTo>
                      <a:pt x="247" y="72"/>
                    </a:lnTo>
                    <a:lnTo>
                      <a:pt x="251" y="77"/>
                    </a:lnTo>
                    <a:lnTo>
                      <a:pt x="252" y="80"/>
                    </a:lnTo>
                    <a:lnTo>
                      <a:pt x="257" y="85"/>
                    </a:lnTo>
                    <a:lnTo>
                      <a:pt x="259" y="89"/>
                    </a:lnTo>
                    <a:lnTo>
                      <a:pt x="261" y="92"/>
                    </a:lnTo>
                    <a:lnTo>
                      <a:pt x="266" y="99"/>
                    </a:lnTo>
                    <a:lnTo>
                      <a:pt x="268" y="102"/>
                    </a:lnTo>
                    <a:lnTo>
                      <a:pt x="269" y="107"/>
                    </a:lnTo>
                    <a:lnTo>
                      <a:pt x="273" y="111"/>
                    </a:lnTo>
                    <a:lnTo>
                      <a:pt x="276" y="114"/>
                    </a:lnTo>
                    <a:lnTo>
                      <a:pt x="279" y="117"/>
                    </a:lnTo>
                    <a:lnTo>
                      <a:pt x="286" y="124"/>
                    </a:lnTo>
                    <a:lnTo>
                      <a:pt x="293" y="131"/>
                    </a:lnTo>
                    <a:lnTo>
                      <a:pt x="296" y="136"/>
                    </a:lnTo>
                    <a:lnTo>
                      <a:pt x="302" y="141"/>
                    </a:lnTo>
                    <a:lnTo>
                      <a:pt x="307" y="145"/>
                    </a:lnTo>
                    <a:lnTo>
                      <a:pt x="310" y="148"/>
                    </a:lnTo>
                    <a:lnTo>
                      <a:pt x="315" y="151"/>
                    </a:lnTo>
                    <a:lnTo>
                      <a:pt x="325" y="160"/>
                    </a:lnTo>
                    <a:lnTo>
                      <a:pt x="330" y="163"/>
                    </a:lnTo>
                    <a:lnTo>
                      <a:pt x="334" y="167"/>
                    </a:lnTo>
                    <a:lnTo>
                      <a:pt x="337" y="168"/>
                    </a:lnTo>
                    <a:lnTo>
                      <a:pt x="346" y="173"/>
                    </a:lnTo>
                    <a:lnTo>
                      <a:pt x="351" y="175"/>
                    </a:lnTo>
                    <a:lnTo>
                      <a:pt x="354" y="178"/>
                    </a:lnTo>
                    <a:lnTo>
                      <a:pt x="359" y="182"/>
                    </a:lnTo>
                    <a:lnTo>
                      <a:pt x="359" y="185"/>
                    </a:lnTo>
                    <a:lnTo>
                      <a:pt x="363" y="190"/>
                    </a:lnTo>
                    <a:lnTo>
                      <a:pt x="368" y="197"/>
                    </a:lnTo>
                    <a:lnTo>
                      <a:pt x="375" y="202"/>
                    </a:lnTo>
                    <a:lnTo>
                      <a:pt x="378" y="204"/>
                    </a:lnTo>
                    <a:lnTo>
                      <a:pt x="385" y="209"/>
                    </a:lnTo>
                    <a:lnTo>
                      <a:pt x="385" y="214"/>
                    </a:lnTo>
                    <a:lnTo>
                      <a:pt x="388" y="217"/>
                    </a:lnTo>
                    <a:lnTo>
                      <a:pt x="392" y="219"/>
                    </a:lnTo>
                    <a:lnTo>
                      <a:pt x="395" y="221"/>
                    </a:lnTo>
                    <a:lnTo>
                      <a:pt x="400" y="224"/>
                    </a:lnTo>
                    <a:lnTo>
                      <a:pt x="409" y="229"/>
                    </a:lnTo>
                    <a:lnTo>
                      <a:pt x="414" y="233"/>
                    </a:lnTo>
                    <a:lnTo>
                      <a:pt x="419" y="233"/>
                    </a:lnTo>
                    <a:lnTo>
                      <a:pt x="424" y="236"/>
                    </a:lnTo>
                    <a:lnTo>
                      <a:pt x="427" y="236"/>
                    </a:lnTo>
                    <a:lnTo>
                      <a:pt x="439" y="241"/>
                    </a:lnTo>
                    <a:lnTo>
                      <a:pt x="443" y="241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4" name="Freeform 61">
                <a:extLst>
                  <a:ext uri="{FF2B5EF4-FFF2-40B4-BE49-F238E27FC236}">
                    <a16:creationId xmlns:a16="http://schemas.microsoft.com/office/drawing/2014/main" id="{5144B827-4618-2077-24DE-B9BF2649B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8600" y="3398838"/>
                <a:ext cx="506412" cy="395287"/>
              </a:xfrm>
              <a:custGeom>
                <a:avLst/>
                <a:gdLst>
                  <a:gd name="T0" fmla="*/ 267 w 319"/>
                  <a:gd name="T1" fmla="*/ 180 h 249"/>
                  <a:gd name="T2" fmla="*/ 279 w 319"/>
                  <a:gd name="T3" fmla="*/ 193 h 249"/>
                  <a:gd name="T4" fmla="*/ 275 w 319"/>
                  <a:gd name="T5" fmla="*/ 208 h 249"/>
                  <a:gd name="T6" fmla="*/ 255 w 319"/>
                  <a:gd name="T7" fmla="*/ 217 h 249"/>
                  <a:gd name="T8" fmla="*/ 234 w 319"/>
                  <a:gd name="T9" fmla="*/ 219 h 249"/>
                  <a:gd name="T10" fmla="*/ 222 w 319"/>
                  <a:gd name="T11" fmla="*/ 229 h 249"/>
                  <a:gd name="T12" fmla="*/ 197 w 319"/>
                  <a:gd name="T13" fmla="*/ 237 h 249"/>
                  <a:gd name="T14" fmla="*/ 180 w 319"/>
                  <a:gd name="T15" fmla="*/ 249 h 249"/>
                  <a:gd name="T16" fmla="*/ 163 w 319"/>
                  <a:gd name="T17" fmla="*/ 244 h 249"/>
                  <a:gd name="T18" fmla="*/ 148 w 319"/>
                  <a:gd name="T19" fmla="*/ 236 h 249"/>
                  <a:gd name="T20" fmla="*/ 129 w 319"/>
                  <a:gd name="T21" fmla="*/ 227 h 249"/>
                  <a:gd name="T22" fmla="*/ 107 w 319"/>
                  <a:gd name="T23" fmla="*/ 224 h 249"/>
                  <a:gd name="T24" fmla="*/ 88 w 319"/>
                  <a:gd name="T25" fmla="*/ 214 h 249"/>
                  <a:gd name="T26" fmla="*/ 69 w 319"/>
                  <a:gd name="T27" fmla="*/ 210 h 249"/>
                  <a:gd name="T28" fmla="*/ 51 w 319"/>
                  <a:gd name="T29" fmla="*/ 208 h 249"/>
                  <a:gd name="T30" fmla="*/ 40 w 319"/>
                  <a:gd name="T31" fmla="*/ 231 h 249"/>
                  <a:gd name="T32" fmla="*/ 42 w 319"/>
                  <a:gd name="T33" fmla="*/ 246 h 249"/>
                  <a:gd name="T34" fmla="*/ 22 w 319"/>
                  <a:gd name="T35" fmla="*/ 239 h 249"/>
                  <a:gd name="T36" fmla="*/ 15 w 319"/>
                  <a:gd name="T37" fmla="*/ 222 h 249"/>
                  <a:gd name="T38" fmla="*/ 22 w 319"/>
                  <a:gd name="T39" fmla="*/ 207 h 249"/>
                  <a:gd name="T40" fmla="*/ 20 w 319"/>
                  <a:gd name="T41" fmla="*/ 190 h 249"/>
                  <a:gd name="T42" fmla="*/ 15 w 319"/>
                  <a:gd name="T43" fmla="*/ 163 h 249"/>
                  <a:gd name="T44" fmla="*/ 0 w 319"/>
                  <a:gd name="T45" fmla="*/ 147 h 249"/>
                  <a:gd name="T46" fmla="*/ 22 w 319"/>
                  <a:gd name="T47" fmla="*/ 144 h 249"/>
                  <a:gd name="T48" fmla="*/ 35 w 319"/>
                  <a:gd name="T49" fmla="*/ 127 h 249"/>
                  <a:gd name="T50" fmla="*/ 45 w 319"/>
                  <a:gd name="T51" fmla="*/ 130 h 249"/>
                  <a:gd name="T52" fmla="*/ 57 w 319"/>
                  <a:gd name="T53" fmla="*/ 117 h 249"/>
                  <a:gd name="T54" fmla="*/ 61 w 319"/>
                  <a:gd name="T55" fmla="*/ 113 h 249"/>
                  <a:gd name="T56" fmla="*/ 52 w 319"/>
                  <a:gd name="T57" fmla="*/ 91 h 249"/>
                  <a:gd name="T58" fmla="*/ 73 w 319"/>
                  <a:gd name="T59" fmla="*/ 74 h 249"/>
                  <a:gd name="T60" fmla="*/ 90 w 319"/>
                  <a:gd name="T61" fmla="*/ 69 h 249"/>
                  <a:gd name="T62" fmla="*/ 107 w 319"/>
                  <a:gd name="T63" fmla="*/ 76 h 249"/>
                  <a:gd name="T64" fmla="*/ 124 w 319"/>
                  <a:gd name="T65" fmla="*/ 85 h 249"/>
                  <a:gd name="T66" fmla="*/ 136 w 319"/>
                  <a:gd name="T67" fmla="*/ 108 h 249"/>
                  <a:gd name="T68" fmla="*/ 146 w 319"/>
                  <a:gd name="T69" fmla="*/ 107 h 249"/>
                  <a:gd name="T70" fmla="*/ 161 w 319"/>
                  <a:gd name="T71" fmla="*/ 91 h 249"/>
                  <a:gd name="T72" fmla="*/ 170 w 319"/>
                  <a:gd name="T73" fmla="*/ 73 h 249"/>
                  <a:gd name="T74" fmla="*/ 183 w 319"/>
                  <a:gd name="T75" fmla="*/ 58 h 249"/>
                  <a:gd name="T76" fmla="*/ 190 w 319"/>
                  <a:gd name="T77" fmla="*/ 37 h 249"/>
                  <a:gd name="T78" fmla="*/ 209 w 319"/>
                  <a:gd name="T79" fmla="*/ 17 h 249"/>
                  <a:gd name="T80" fmla="*/ 216 w 319"/>
                  <a:gd name="T81" fmla="*/ 0 h 249"/>
                  <a:gd name="T82" fmla="*/ 234 w 319"/>
                  <a:gd name="T83" fmla="*/ 10 h 249"/>
                  <a:gd name="T84" fmla="*/ 258 w 319"/>
                  <a:gd name="T85" fmla="*/ 17 h 249"/>
                  <a:gd name="T86" fmla="*/ 279 w 319"/>
                  <a:gd name="T87" fmla="*/ 25 h 249"/>
                  <a:gd name="T88" fmla="*/ 306 w 319"/>
                  <a:gd name="T89" fmla="*/ 42 h 249"/>
                  <a:gd name="T90" fmla="*/ 311 w 319"/>
                  <a:gd name="T91" fmla="*/ 58 h 249"/>
                  <a:gd name="T92" fmla="*/ 304 w 319"/>
                  <a:gd name="T93" fmla="*/ 80 h 249"/>
                  <a:gd name="T94" fmla="*/ 306 w 319"/>
                  <a:gd name="T95" fmla="*/ 103 h 249"/>
                  <a:gd name="T96" fmla="*/ 319 w 319"/>
                  <a:gd name="T97" fmla="*/ 119 h 249"/>
                  <a:gd name="T98" fmla="*/ 304 w 319"/>
                  <a:gd name="T99" fmla="*/ 130 h 249"/>
                  <a:gd name="T100" fmla="*/ 292 w 319"/>
                  <a:gd name="T101" fmla="*/ 146 h 249"/>
                  <a:gd name="T102" fmla="*/ 277 w 319"/>
                  <a:gd name="T103" fmla="*/ 147 h 249"/>
                  <a:gd name="T104" fmla="*/ 265 w 319"/>
                  <a:gd name="T105" fmla="*/ 158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19" h="249">
                    <a:moveTo>
                      <a:pt x="267" y="161"/>
                    </a:moveTo>
                    <a:lnTo>
                      <a:pt x="267" y="166"/>
                    </a:lnTo>
                    <a:lnTo>
                      <a:pt x="268" y="169"/>
                    </a:lnTo>
                    <a:lnTo>
                      <a:pt x="267" y="175"/>
                    </a:lnTo>
                    <a:lnTo>
                      <a:pt x="267" y="180"/>
                    </a:lnTo>
                    <a:lnTo>
                      <a:pt x="267" y="183"/>
                    </a:lnTo>
                    <a:lnTo>
                      <a:pt x="267" y="186"/>
                    </a:lnTo>
                    <a:lnTo>
                      <a:pt x="270" y="190"/>
                    </a:lnTo>
                    <a:lnTo>
                      <a:pt x="273" y="190"/>
                    </a:lnTo>
                    <a:lnTo>
                      <a:pt x="279" y="193"/>
                    </a:lnTo>
                    <a:lnTo>
                      <a:pt x="282" y="197"/>
                    </a:lnTo>
                    <a:lnTo>
                      <a:pt x="285" y="200"/>
                    </a:lnTo>
                    <a:lnTo>
                      <a:pt x="282" y="203"/>
                    </a:lnTo>
                    <a:lnTo>
                      <a:pt x="280" y="207"/>
                    </a:lnTo>
                    <a:lnTo>
                      <a:pt x="275" y="208"/>
                    </a:lnTo>
                    <a:lnTo>
                      <a:pt x="272" y="210"/>
                    </a:lnTo>
                    <a:lnTo>
                      <a:pt x="267" y="214"/>
                    </a:lnTo>
                    <a:lnTo>
                      <a:pt x="261" y="214"/>
                    </a:lnTo>
                    <a:lnTo>
                      <a:pt x="258" y="215"/>
                    </a:lnTo>
                    <a:lnTo>
                      <a:pt x="255" y="217"/>
                    </a:lnTo>
                    <a:lnTo>
                      <a:pt x="251" y="220"/>
                    </a:lnTo>
                    <a:lnTo>
                      <a:pt x="250" y="224"/>
                    </a:lnTo>
                    <a:lnTo>
                      <a:pt x="244" y="224"/>
                    </a:lnTo>
                    <a:lnTo>
                      <a:pt x="239" y="222"/>
                    </a:lnTo>
                    <a:lnTo>
                      <a:pt x="234" y="219"/>
                    </a:lnTo>
                    <a:lnTo>
                      <a:pt x="231" y="217"/>
                    </a:lnTo>
                    <a:lnTo>
                      <a:pt x="227" y="217"/>
                    </a:lnTo>
                    <a:lnTo>
                      <a:pt x="224" y="220"/>
                    </a:lnTo>
                    <a:lnTo>
                      <a:pt x="224" y="225"/>
                    </a:lnTo>
                    <a:lnTo>
                      <a:pt x="222" y="229"/>
                    </a:lnTo>
                    <a:lnTo>
                      <a:pt x="219" y="232"/>
                    </a:lnTo>
                    <a:lnTo>
                      <a:pt x="210" y="236"/>
                    </a:lnTo>
                    <a:lnTo>
                      <a:pt x="205" y="232"/>
                    </a:lnTo>
                    <a:lnTo>
                      <a:pt x="202" y="232"/>
                    </a:lnTo>
                    <a:lnTo>
                      <a:pt x="197" y="237"/>
                    </a:lnTo>
                    <a:lnTo>
                      <a:pt x="193" y="237"/>
                    </a:lnTo>
                    <a:lnTo>
                      <a:pt x="190" y="241"/>
                    </a:lnTo>
                    <a:lnTo>
                      <a:pt x="188" y="244"/>
                    </a:lnTo>
                    <a:lnTo>
                      <a:pt x="185" y="249"/>
                    </a:lnTo>
                    <a:lnTo>
                      <a:pt x="180" y="249"/>
                    </a:lnTo>
                    <a:lnTo>
                      <a:pt x="176" y="247"/>
                    </a:lnTo>
                    <a:lnTo>
                      <a:pt x="176" y="244"/>
                    </a:lnTo>
                    <a:lnTo>
                      <a:pt x="171" y="241"/>
                    </a:lnTo>
                    <a:lnTo>
                      <a:pt x="168" y="246"/>
                    </a:lnTo>
                    <a:lnTo>
                      <a:pt x="163" y="244"/>
                    </a:lnTo>
                    <a:lnTo>
                      <a:pt x="159" y="244"/>
                    </a:lnTo>
                    <a:lnTo>
                      <a:pt x="156" y="246"/>
                    </a:lnTo>
                    <a:lnTo>
                      <a:pt x="153" y="244"/>
                    </a:lnTo>
                    <a:lnTo>
                      <a:pt x="148" y="239"/>
                    </a:lnTo>
                    <a:lnTo>
                      <a:pt x="148" y="236"/>
                    </a:lnTo>
                    <a:lnTo>
                      <a:pt x="144" y="234"/>
                    </a:lnTo>
                    <a:lnTo>
                      <a:pt x="141" y="231"/>
                    </a:lnTo>
                    <a:lnTo>
                      <a:pt x="137" y="231"/>
                    </a:lnTo>
                    <a:lnTo>
                      <a:pt x="134" y="231"/>
                    </a:lnTo>
                    <a:lnTo>
                      <a:pt x="129" y="227"/>
                    </a:lnTo>
                    <a:lnTo>
                      <a:pt x="125" y="227"/>
                    </a:lnTo>
                    <a:lnTo>
                      <a:pt x="120" y="227"/>
                    </a:lnTo>
                    <a:lnTo>
                      <a:pt x="115" y="224"/>
                    </a:lnTo>
                    <a:lnTo>
                      <a:pt x="110" y="224"/>
                    </a:lnTo>
                    <a:lnTo>
                      <a:pt x="107" y="224"/>
                    </a:lnTo>
                    <a:lnTo>
                      <a:pt x="103" y="220"/>
                    </a:lnTo>
                    <a:lnTo>
                      <a:pt x="98" y="219"/>
                    </a:lnTo>
                    <a:lnTo>
                      <a:pt x="95" y="217"/>
                    </a:lnTo>
                    <a:lnTo>
                      <a:pt x="93" y="214"/>
                    </a:lnTo>
                    <a:lnTo>
                      <a:pt x="88" y="214"/>
                    </a:lnTo>
                    <a:lnTo>
                      <a:pt x="85" y="214"/>
                    </a:lnTo>
                    <a:lnTo>
                      <a:pt x="83" y="210"/>
                    </a:lnTo>
                    <a:lnTo>
                      <a:pt x="79" y="210"/>
                    </a:lnTo>
                    <a:lnTo>
                      <a:pt x="76" y="210"/>
                    </a:lnTo>
                    <a:lnTo>
                      <a:pt x="69" y="210"/>
                    </a:lnTo>
                    <a:lnTo>
                      <a:pt x="66" y="210"/>
                    </a:lnTo>
                    <a:lnTo>
                      <a:pt x="62" y="217"/>
                    </a:lnTo>
                    <a:lnTo>
                      <a:pt x="59" y="217"/>
                    </a:lnTo>
                    <a:lnTo>
                      <a:pt x="54" y="210"/>
                    </a:lnTo>
                    <a:lnTo>
                      <a:pt x="51" y="208"/>
                    </a:lnTo>
                    <a:lnTo>
                      <a:pt x="49" y="212"/>
                    </a:lnTo>
                    <a:lnTo>
                      <a:pt x="47" y="215"/>
                    </a:lnTo>
                    <a:lnTo>
                      <a:pt x="44" y="219"/>
                    </a:lnTo>
                    <a:lnTo>
                      <a:pt x="40" y="224"/>
                    </a:lnTo>
                    <a:lnTo>
                      <a:pt x="40" y="231"/>
                    </a:lnTo>
                    <a:lnTo>
                      <a:pt x="45" y="237"/>
                    </a:lnTo>
                    <a:lnTo>
                      <a:pt x="49" y="242"/>
                    </a:lnTo>
                    <a:lnTo>
                      <a:pt x="51" y="249"/>
                    </a:lnTo>
                    <a:lnTo>
                      <a:pt x="45" y="249"/>
                    </a:lnTo>
                    <a:lnTo>
                      <a:pt x="42" y="246"/>
                    </a:lnTo>
                    <a:lnTo>
                      <a:pt x="37" y="247"/>
                    </a:lnTo>
                    <a:lnTo>
                      <a:pt x="32" y="249"/>
                    </a:lnTo>
                    <a:lnTo>
                      <a:pt x="28" y="244"/>
                    </a:lnTo>
                    <a:lnTo>
                      <a:pt x="25" y="239"/>
                    </a:lnTo>
                    <a:lnTo>
                      <a:pt x="22" y="239"/>
                    </a:lnTo>
                    <a:lnTo>
                      <a:pt x="22" y="236"/>
                    </a:lnTo>
                    <a:lnTo>
                      <a:pt x="22" y="231"/>
                    </a:lnTo>
                    <a:lnTo>
                      <a:pt x="18" y="227"/>
                    </a:lnTo>
                    <a:lnTo>
                      <a:pt x="13" y="227"/>
                    </a:lnTo>
                    <a:lnTo>
                      <a:pt x="15" y="222"/>
                    </a:lnTo>
                    <a:lnTo>
                      <a:pt x="17" y="219"/>
                    </a:lnTo>
                    <a:lnTo>
                      <a:pt x="13" y="215"/>
                    </a:lnTo>
                    <a:lnTo>
                      <a:pt x="13" y="212"/>
                    </a:lnTo>
                    <a:lnTo>
                      <a:pt x="17" y="208"/>
                    </a:lnTo>
                    <a:lnTo>
                      <a:pt x="22" y="207"/>
                    </a:lnTo>
                    <a:lnTo>
                      <a:pt x="25" y="203"/>
                    </a:lnTo>
                    <a:lnTo>
                      <a:pt x="22" y="202"/>
                    </a:lnTo>
                    <a:lnTo>
                      <a:pt x="23" y="197"/>
                    </a:lnTo>
                    <a:lnTo>
                      <a:pt x="25" y="193"/>
                    </a:lnTo>
                    <a:lnTo>
                      <a:pt x="20" y="190"/>
                    </a:lnTo>
                    <a:lnTo>
                      <a:pt x="17" y="185"/>
                    </a:lnTo>
                    <a:lnTo>
                      <a:pt x="18" y="180"/>
                    </a:lnTo>
                    <a:lnTo>
                      <a:pt x="18" y="175"/>
                    </a:lnTo>
                    <a:lnTo>
                      <a:pt x="15" y="169"/>
                    </a:lnTo>
                    <a:lnTo>
                      <a:pt x="15" y="163"/>
                    </a:lnTo>
                    <a:lnTo>
                      <a:pt x="11" y="159"/>
                    </a:lnTo>
                    <a:lnTo>
                      <a:pt x="11" y="156"/>
                    </a:lnTo>
                    <a:lnTo>
                      <a:pt x="6" y="152"/>
                    </a:lnTo>
                    <a:lnTo>
                      <a:pt x="3" y="149"/>
                    </a:lnTo>
                    <a:lnTo>
                      <a:pt x="0" y="147"/>
                    </a:lnTo>
                    <a:lnTo>
                      <a:pt x="3" y="144"/>
                    </a:lnTo>
                    <a:lnTo>
                      <a:pt x="10" y="144"/>
                    </a:lnTo>
                    <a:lnTo>
                      <a:pt x="15" y="146"/>
                    </a:lnTo>
                    <a:lnTo>
                      <a:pt x="18" y="147"/>
                    </a:lnTo>
                    <a:lnTo>
                      <a:pt x="22" y="144"/>
                    </a:lnTo>
                    <a:lnTo>
                      <a:pt x="25" y="141"/>
                    </a:lnTo>
                    <a:lnTo>
                      <a:pt x="28" y="137"/>
                    </a:lnTo>
                    <a:lnTo>
                      <a:pt x="28" y="134"/>
                    </a:lnTo>
                    <a:lnTo>
                      <a:pt x="32" y="130"/>
                    </a:lnTo>
                    <a:lnTo>
                      <a:pt x="35" y="127"/>
                    </a:lnTo>
                    <a:lnTo>
                      <a:pt x="39" y="127"/>
                    </a:lnTo>
                    <a:lnTo>
                      <a:pt x="40" y="130"/>
                    </a:lnTo>
                    <a:lnTo>
                      <a:pt x="42" y="136"/>
                    </a:lnTo>
                    <a:lnTo>
                      <a:pt x="45" y="134"/>
                    </a:lnTo>
                    <a:lnTo>
                      <a:pt x="45" y="130"/>
                    </a:lnTo>
                    <a:lnTo>
                      <a:pt x="45" y="124"/>
                    </a:lnTo>
                    <a:lnTo>
                      <a:pt x="49" y="125"/>
                    </a:lnTo>
                    <a:lnTo>
                      <a:pt x="54" y="124"/>
                    </a:lnTo>
                    <a:lnTo>
                      <a:pt x="56" y="120"/>
                    </a:lnTo>
                    <a:lnTo>
                      <a:pt x="57" y="117"/>
                    </a:lnTo>
                    <a:lnTo>
                      <a:pt x="59" y="120"/>
                    </a:lnTo>
                    <a:lnTo>
                      <a:pt x="64" y="122"/>
                    </a:lnTo>
                    <a:lnTo>
                      <a:pt x="64" y="119"/>
                    </a:lnTo>
                    <a:lnTo>
                      <a:pt x="66" y="113"/>
                    </a:lnTo>
                    <a:lnTo>
                      <a:pt x="61" y="113"/>
                    </a:lnTo>
                    <a:lnTo>
                      <a:pt x="57" y="112"/>
                    </a:lnTo>
                    <a:lnTo>
                      <a:pt x="57" y="108"/>
                    </a:lnTo>
                    <a:lnTo>
                      <a:pt x="56" y="102"/>
                    </a:lnTo>
                    <a:lnTo>
                      <a:pt x="52" y="97"/>
                    </a:lnTo>
                    <a:lnTo>
                      <a:pt x="52" y="91"/>
                    </a:lnTo>
                    <a:lnTo>
                      <a:pt x="57" y="88"/>
                    </a:lnTo>
                    <a:lnTo>
                      <a:pt x="62" y="90"/>
                    </a:lnTo>
                    <a:lnTo>
                      <a:pt x="66" y="85"/>
                    </a:lnTo>
                    <a:lnTo>
                      <a:pt x="71" y="80"/>
                    </a:lnTo>
                    <a:lnTo>
                      <a:pt x="73" y="74"/>
                    </a:lnTo>
                    <a:lnTo>
                      <a:pt x="76" y="71"/>
                    </a:lnTo>
                    <a:lnTo>
                      <a:pt x="79" y="69"/>
                    </a:lnTo>
                    <a:lnTo>
                      <a:pt x="83" y="64"/>
                    </a:lnTo>
                    <a:lnTo>
                      <a:pt x="86" y="66"/>
                    </a:lnTo>
                    <a:lnTo>
                      <a:pt x="90" y="69"/>
                    </a:lnTo>
                    <a:lnTo>
                      <a:pt x="95" y="68"/>
                    </a:lnTo>
                    <a:lnTo>
                      <a:pt x="98" y="73"/>
                    </a:lnTo>
                    <a:lnTo>
                      <a:pt x="102" y="78"/>
                    </a:lnTo>
                    <a:lnTo>
                      <a:pt x="105" y="80"/>
                    </a:lnTo>
                    <a:lnTo>
                      <a:pt x="107" y="76"/>
                    </a:lnTo>
                    <a:lnTo>
                      <a:pt x="110" y="78"/>
                    </a:lnTo>
                    <a:lnTo>
                      <a:pt x="113" y="76"/>
                    </a:lnTo>
                    <a:lnTo>
                      <a:pt x="119" y="78"/>
                    </a:lnTo>
                    <a:lnTo>
                      <a:pt x="122" y="81"/>
                    </a:lnTo>
                    <a:lnTo>
                      <a:pt x="124" y="85"/>
                    </a:lnTo>
                    <a:lnTo>
                      <a:pt x="127" y="85"/>
                    </a:lnTo>
                    <a:lnTo>
                      <a:pt x="131" y="93"/>
                    </a:lnTo>
                    <a:lnTo>
                      <a:pt x="132" y="98"/>
                    </a:lnTo>
                    <a:lnTo>
                      <a:pt x="134" y="103"/>
                    </a:lnTo>
                    <a:lnTo>
                      <a:pt x="136" y="108"/>
                    </a:lnTo>
                    <a:lnTo>
                      <a:pt x="132" y="112"/>
                    </a:lnTo>
                    <a:lnTo>
                      <a:pt x="137" y="112"/>
                    </a:lnTo>
                    <a:lnTo>
                      <a:pt x="141" y="113"/>
                    </a:lnTo>
                    <a:lnTo>
                      <a:pt x="144" y="110"/>
                    </a:lnTo>
                    <a:lnTo>
                      <a:pt x="146" y="107"/>
                    </a:lnTo>
                    <a:lnTo>
                      <a:pt x="149" y="105"/>
                    </a:lnTo>
                    <a:lnTo>
                      <a:pt x="153" y="102"/>
                    </a:lnTo>
                    <a:lnTo>
                      <a:pt x="154" y="98"/>
                    </a:lnTo>
                    <a:lnTo>
                      <a:pt x="158" y="91"/>
                    </a:lnTo>
                    <a:lnTo>
                      <a:pt x="161" y="91"/>
                    </a:lnTo>
                    <a:lnTo>
                      <a:pt x="165" y="88"/>
                    </a:lnTo>
                    <a:lnTo>
                      <a:pt x="165" y="83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70" y="73"/>
                    </a:lnTo>
                    <a:lnTo>
                      <a:pt x="171" y="69"/>
                    </a:lnTo>
                    <a:lnTo>
                      <a:pt x="171" y="66"/>
                    </a:lnTo>
                    <a:lnTo>
                      <a:pt x="176" y="63"/>
                    </a:lnTo>
                    <a:lnTo>
                      <a:pt x="182" y="61"/>
                    </a:lnTo>
                    <a:lnTo>
                      <a:pt x="183" y="58"/>
                    </a:lnTo>
                    <a:lnTo>
                      <a:pt x="185" y="51"/>
                    </a:lnTo>
                    <a:lnTo>
                      <a:pt x="185" y="47"/>
                    </a:lnTo>
                    <a:lnTo>
                      <a:pt x="185" y="44"/>
                    </a:lnTo>
                    <a:lnTo>
                      <a:pt x="188" y="41"/>
                    </a:lnTo>
                    <a:lnTo>
                      <a:pt x="190" y="37"/>
                    </a:lnTo>
                    <a:lnTo>
                      <a:pt x="195" y="29"/>
                    </a:lnTo>
                    <a:lnTo>
                      <a:pt x="199" y="25"/>
                    </a:lnTo>
                    <a:lnTo>
                      <a:pt x="202" y="22"/>
                    </a:lnTo>
                    <a:lnTo>
                      <a:pt x="205" y="20"/>
                    </a:lnTo>
                    <a:lnTo>
                      <a:pt x="209" y="17"/>
                    </a:lnTo>
                    <a:lnTo>
                      <a:pt x="212" y="13"/>
                    </a:lnTo>
                    <a:lnTo>
                      <a:pt x="210" y="10"/>
                    </a:lnTo>
                    <a:lnTo>
                      <a:pt x="207" y="10"/>
                    </a:lnTo>
                    <a:lnTo>
                      <a:pt x="209" y="2"/>
                    </a:lnTo>
                    <a:lnTo>
                      <a:pt x="216" y="0"/>
                    </a:lnTo>
                    <a:lnTo>
                      <a:pt x="219" y="3"/>
                    </a:lnTo>
                    <a:lnTo>
                      <a:pt x="222" y="5"/>
                    </a:lnTo>
                    <a:lnTo>
                      <a:pt x="227" y="7"/>
                    </a:lnTo>
                    <a:lnTo>
                      <a:pt x="229" y="8"/>
                    </a:lnTo>
                    <a:lnTo>
                      <a:pt x="234" y="10"/>
                    </a:lnTo>
                    <a:lnTo>
                      <a:pt x="238" y="12"/>
                    </a:lnTo>
                    <a:lnTo>
                      <a:pt x="243" y="13"/>
                    </a:lnTo>
                    <a:lnTo>
                      <a:pt x="248" y="15"/>
                    </a:lnTo>
                    <a:lnTo>
                      <a:pt x="251" y="15"/>
                    </a:lnTo>
                    <a:lnTo>
                      <a:pt x="258" y="17"/>
                    </a:lnTo>
                    <a:lnTo>
                      <a:pt x="265" y="17"/>
                    </a:lnTo>
                    <a:lnTo>
                      <a:pt x="270" y="19"/>
                    </a:lnTo>
                    <a:lnTo>
                      <a:pt x="272" y="22"/>
                    </a:lnTo>
                    <a:lnTo>
                      <a:pt x="275" y="24"/>
                    </a:lnTo>
                    <a:lnTo>
                      <a:pt x="279" y="25"/>
                    </a:lnTo>
                    <a:lnTo>
                      <a:pt x="287" y="32"/>
                    </a:lnTo>
                    <a:lnTo>
                      <a:pt x="292" y="37"/>
                    </a:lnTo>
                    <a:lnTo>
                      <a:pt x="296" y="41"/>
                    </a:lnTo>
                    <a:lnTo>
                      <a:pt x="302" y="41"/>
                    </a:lnTo>
                    <a:lnTo>
                      <a:pt x="306" y="42"/>
                    </a:lnTo>
                    <a:lnTo>
                      <a:pt x="309" y="42"/>
                    </a:lnTo>
                    <a:lnTo>
                      <a:pt x="309" y="47"/>
                    </a:lnTo>
                    <a:lnTo>
                      <a:pt x="307" y="51"/>
                    </a:lnTo>
                    <a:lnTo>
                      <a:pt x="309" y="54"/>
                    </a:lnTo>
                    <a:lnTo>
                      <a:pt x="311" y="58"/>
                    </a:lnTo>
                    <a:lnTo>
                      <a:pt x="307" y="64"/>
                    </a:lnTo>
                    <a:lnTo>
                      <a:pt x="306" y="68"/>
                    </a:lnTo>
                    <a:lnTo>
                      <a:pt x="302" y="71"/>
                    </a:lnTo>
                    <a:lnTo>
                      <a:pt x="302" y="74"/>
                    </a:lnTo>
                    <a:lnTo>
                      <a:pt x="304" y="80"/>
                    </a:lnTo>
                    <a:lnTo>
                      <a:pt x="306" y="83"/>
                    </a:lnTo>
                    <a:lnTo>
                      <a:pt x="307" y="88"/>
                    </a:lnTo>
                    <a:lnTo>
                      <a:pt x="307" y="91"/>
                    </a:lnTo>
                    <a:lnTo>
                      <a:pt x="302" y="98"/>
                    </a:lnTo>
                    <a:lnTo>
                      <a:pt x="306" y="103"/>
                    </a:lnTo>
                    <a:lnTo>
                      <a:pt x="304" y="107"/>
                    </a:lnTo>
                    <a:lnTo>
                      <a:pt x="307" y="112"/>
                    </a:lnTo>
                    <a:lnTo>
                      <a:pt x="309" y="115"/>
                    </a:lnTo>
                    <a:lnTo>
                      <a:pt x="314" y="117"/>
                    </a:lnTo>
                    <a:lnTo>
                      <a:pt x="319" y="119"/>
                    </a:lnTo>
                    <a:lnTo>
                      <a:pt x="314" y="122"/>
                    </a:lnTo>
                    <a:lnTo>
                      <a:pt x="311" y="125"/>
                    </a:lnTo>
                    <a:lnTo>
                      <a:pt x="307" y="129"/>
                    </a:lnTo>
                    <a:lnTo>
                      <a:pt x="307" y="132"/>
                    </a:lnTo>
                    <a:lnTo>
                      <a:pt x="304" y="130"/>
                    </a:lnTo>
                    <a:lnTo>
                      <a:pt x="302" y="134"/>
                    </a:lnTo>
                    <a:lnTo>
                      <a:pt x="299" y="136"/>
                    </a:lnTo>
                    <a:lnTo>
                      <a:pt x="296" y="139"/>
                    </a:lnTo>
                    <a:lnTo>
                      <a:pt x="292" y="141"/>
                    </a:lnTo>
                    <a:lnTo>
                      <a:pt x="292" y="146"/>
                    </a:lnTo>
                    <a:lnTo>
                      <a:pt x="289" y="146"/>
                    </a:lnTo>
                    <a:lnTo>
                      <a:pt x="287" y="151"/>
                    </a:lnTo>
                    <a:lnTo>
                      <a:pt x="284" y="152"/>
                    </a:lnTo>
                    <a:lnTo>
                      <a:pt x="279" y="151"/>
                    </a:lnTo>
                    <a:lnTo>
                      <a:pt x="277" y="147"/>
                    </a:lnTo>
                    <a:lnTo>
                      <a:pt x="272" y="146"/>
                    </a:lnTo>
                    <a:lnTo>
                      <a:pt x="268" y="146"/>
                    </a:lnTo>
                    <a:lnTo>
                      <a:pt x="267" y="149"/>
                    </a:lnTo>
                    <a:lnTo>
                      <a:pt x="263" y="152"/>
                    </a:lnTo>
                    <a:lnTo>
                      <a:pt x="265" y="158"/>
                    </a:lnTo>
                    <a:lnTo>
                      <a:pt x="267" y="161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5" name="Line 62">
                <a:extLst>
                  <a:ext uri="{FF2B5EF4-FFF2-40B4-BE49-F238E27FC236}">
                    <a16:creationId xmlns:a16="http://schemas.microsoft.com/office/drawing/2014/main" id="{A8F074EC-298D-2DB3-F48A-2D7F29EEE2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82013" y="45243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6" name="Line 63">
                <a:extLst>
                  <a:ext uri="{FF2B5EF4-FFF2-40B4-BE49-F238E27FC236}">
                    <a16:creationId xmlns:a16="http://schemas.microsoft.com/office/drawing/2014/main" id="{06AF49EE-7F90-8709-2142-C93A4BED9A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4213" y="44084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7" name="Line 64">
                <a:extLst>
                  <a:ext uri="{FF2B5EF4-FFF2-40B4-BE49-F238E27FC236}">
                    <a16:creationId xmlns:a16="http://schemas.microsoft.com/office/drawing/2014/main" id="{7AE00285-8174-F888-6126-608BAD5BDF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18463" y="42656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8" name="Line 65">
                <a:extLst>
                  <a:ext uri="{FF2B5EF4-FFF2-40B4-BE49-F238E27FC236}">
                    <a16:creationId xmlns:a16="http://schemas.microsoft.com/office/drawing/2014/main" id="{1E8197A1-7139-9AC6-6EFD-34C32024DD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15288" y="42656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39" name="Line 66">
                <a:extLst>
                  <a:ext uri="{FF2B5EF4-FFF2-40B4-BE49-F238E27FC236}">
                    <a16:creationId xmlns:a16="http://schemas.microsoft.com/office/drawing/2014/main" id="{8AADD4D5-0961-7963-293A-7DF54DF743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18463" y="42624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0" name="Line 67">
                <a:extLst>
                  <a:ext uri="{FF2B5EF4-FFF2-40B4-BE49-F238E27FC236}">
                    <a16:creationId xmlns:a16="http://schemas.microsoft.com/office/drawing/2014/main" id="{6E069A2E-084A-07C5-14C2-F8F4B3C24C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91488" y="42386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1" name="Line 68">
                <a:extLst>
                  <a:ext uri="{FF2B5EF4-FFF2-40B4-BE49-F238E27FC236}">
                    <a16:creationId xmlns:a16="http://schemas.microsoft.com/office/drawing/2014/main" id="{62854CFE-782E-E877-806F-341EDD20D9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91488" y="42354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2" name="Line 69">
                <a:extLst>
                  <a:ext uri="{FF2B5EF4-FFF2-40B4-BE49-F238E27FC236}">
                    <a16:creationId xmlns:a16="http://schemas.microsoft.com/office/drawing/2014/main" id="{F7BFB245-F129-0FDD-DAD8-934ECBA2B4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93075" y="42354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3" name="Line 70">
                <a:extLst>
                  <a:ext uri="{FF2B5EF4-FFF2-40B4-BE49-F238E27FC236}">
                    <a16:creationId xmlns:a16="http://schemas.microsoft.com/office/drawing/2014/main" id="{6E34DEA6-DC1D-55AF-9902-4B2257A3EC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66088" y="42354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4" name="Line 71">
                <a:extLst>
                  <a:ext uri="{FF2B5EF4-FFF2-40B4-BE49-F238E27FC236}">
                    <a16:creationId xmlns:a16="http://schemas.microsoft.com/office/drawing/2014/main" id="{30A62C18-5FEE-0378-4A28-32D6ED9913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99425" y="41529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5" name="Line 72">
                <a:extLst>
                  <a:ext uri="{FF2B5EF4-FFF2-40B4-BE49-F238E27FC236}">
                    <a16:creationId xmlns:a16="http://schemas.microsoft.com/office/drawing/2014/main" id="{5C1511D0-4067-FD69-DE11-4BC6E5B43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80363" y="41259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6" name="Freeform 73">
                <a:extLst>
                  <a:ext uri="{FF2B5EF4-FFF2-40B4-BE49-F238E27FC236}">
                    <a16:creationId xmlns:a16="http://schemas.microsoft.com/office/drawing/2014/main" id="{AD87DDAF-CBE6-DA87-44EA-ECE826CDE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5100" y="3716338"/>
                <a:ext cx="904875" cy="820737"/>
              </a:xfrm>
              <a:custGeom>
                <a:avLst/>
                <a:gdLst>
                  <a:gd name="T0" fmla="*/ 485 w 570"/>
                  <a:gd name="T1" fmla="*/ 149 h 517"/>
                  <a:gd name="T2" fmla="*/ 480 w 570"/>
                  <a:gd name="T3" fmla="*/ 188 h 517"/>
                  <a:gd name="T4" fmla="*/ 453 w 570"/>
                  <a:gd name="T5" fmla="*/ 205 h 517"/>
                  <a:gd name="T6" fmla="*/ 439 w 570"/>
                  <a:gd name="T7" fmla="*/ 214 h 517"/>
                  <a:gd name="T8" fmla="*/ 441 w 570"/>
                  <a:gd name="T9" fmla="*/ 231 h 517"/>
                  <a:gd name="T10" fmla="*/ 444 w 570"/>
                  <a:gd name="T11" fmla="*/ 261 h 517"/>
                  <a:gd name="T12" fmla="*/ 478 w 570"/>
                  <a:gd name="T13" fmla="*/ 278 h 517"/>
                  <a:gd name="T14" fmla="*/ 477 w 570"/>
                  <a:gd name="T15" fmla="*/ 307 h 517"/>
                  <a:gd name="T16" fmla="*/ 495 w 570"/>
                  <a:gd name="T17" fmla="*/ 332 h 517"/>
                  <a:gd name="T18" fmla="*/ 514 w 570"/>
                  <a:gd name="T19" fmla="*/ 360 h 517"/>
                  <a:gd name="T20" fmla="*/ 541 w 570"/>
                  <a:gd name="T21" fmla="*/ 388 h 517"/>
                  <a:gd name="T22" fmla="*/ 569 w 570"/>
                  <a:gd name="T23" fmla="*/ 415 h 517"/>
                  <a:gd name="T24" fmla="*/ 548 w 570"/>
                  <a:gd name="T25" fmla="*/ 446 h 517"/>
                  <a:gd name="T26" fmla="*/ 541 w 570"/>
                  <a:gd name="T27" fmla="*/ 480 h 517"/>
                  <a:gd name="T28" fmla="*/ 526 w 570"/>
                  <a:gd name="T29" fmla="*/ 487 h 517"/>
                  <a:gd name="T30" fmla="*/ 490 w 570"/>
                  <a:gd name="T31" fmla="*/ 499 h 517"/>
                  <a:gd name="T32" fmla="*/ 453 w 570"/>
                  <a:gd name="T33" fmla="*/ 514 h 517"/>
                  <a:gd name="T34" fmla="*/ 432 w 570"/>
                  <a:gd name="T35" fmla="*/ 493 h 517"/>
                  <a:gd name="T36" fmla="*/ 395 w 570"/>
                  <a:gd name="T37" fmla="*/ 465 h 517"/>
                  <a:gd name="T38" fmla="*/ 364 w 570"/>
                  <a:gd name="T39" fmla="*/ 461 h 517"/>
                  <a:gd name="T40" fmla="*/ 337 w 570"/>
                  <a:gd name="T41" fmla="*/ 444 h 517"/>
                  <a:gd name="T42" fmla="*/ 336 w 570"/>
                  <a:gd name="T43" fmla="*/ 412 h 517"/>
                  <a:gd name="T44" fmla="*/ 349 w 570"/>
                  <a:gd name="T45" fmla="*/ 382 h 517"/>
                  <a:gd name="T46" fmla="*/ 329 w 570"/>
                  <a:gd name="T47" fmla="*/ 348 h 517"/>
                  <a:gd name="T48" fmla="*/ 308 w 570"/>
                  <a:gd name="T49" fmla="*/ 314 h 517"/>
                  <a:gd name="T50" fmla="*/ 274 w 570"/>
                  <a:gd name="T51" fmla="*/ 290 h 517"/>
                  <a:gd name="T52" fmla="*/ 244 w 570"/>
                  <a:gd name="T53" fmla="*/ 302 h 517"/>
                  <a:gd name="T54" fmla="*/ 213 w 570"/>
                  <a:gd name="T55" fmla="*/ 314 h 517"/>
                  <a:gd name="T56" fmla="*/ 182 w 570"/>
                  <a:gd name="T57" fmla="*/ 324 h 517"/>
                  <a:gd name="T58" fmla="*/ 169 w 570"/>
                  <a:gd name="T59" fmla="*/ 312 h 517"/>
                  <a:gd name="T60" fmla="*/ 201 w 570"/>
                  <a:gd name="T61" fmla="*/ 288 h 517"/>
                  <a:gd name="T62" fmla="*/ 179 w 570"/>
                  <a:gd name="T63" fmla="*/ 266 h 517"/>
                  <a:gd name="T64" fmla="*/ 145 w 570"/>
                  <a:gd name="T65" fmla="*/ 237 h 517"/>
                  <a:gd name="T66" fmla="*/ 116 w 570"/>
                  <a:gd name="T67" fmla="*/ 258 h 517"/>
                  <a:gd name="T68" fmla="*/ 94 w 570"/>
                  <a:gd name="T69" fmla="*/ 253 h 517"/>
                  <a:gd name="T70" fmla="*/ 85 w 570"/>
                  <a:gd name="T71" fmla="*/ 249 h 517"/>
                  <a:gd name="T72" fmla="*/ 70 w 570"/>
                  <a:gd name="T73" fmla="*/ 207 h 517"/>
                  <a:gd name="T74" fmla="*/ 43 w 570"/>
                  <a:gd name="T75" fmla="*/ 168 h 517"/>
                  <a:gd name="T76" fmla="*/ 19 w 570"/>
                  <a:gd name="T77" fmla="*/ 129 h 517"/>
                  <a:gd name="T78" fmla="*/ 19 w 570"/>
                  <a:gd name="T79" fmla="*/ 102 h 517"/>
                  <a:gd name="T80" fmla="*/ 28 w 570"/>
                  <a:gd name="T81" fmla="*/ 71 h 517"/>
                  <a:gd name="T82" fmla="*/ 28 w 570"/>
                  <a:gd name="T83" fmla="*/ 41 h 517"/>
                  <a:gd name="T84" fmla="*/ 60 w 570"/>
                  <a:gd name="T85" fmla="*/ 29 h 517"/>
                  <a:gd name="T86" fmla="*/ 84 w 570"/>
                  <a:gd name="T87" fmla="*/ 47 h 517"/>
                  <a:gd name="T88" fmla="*/ 89 w 570"/>
                  <a:gd name="T89" fmla="*/ 12 h 517"/>
                  <a:gd name="T90" fmla="*/ 113 w 570"/>
                  <a:gd name="T91" fmla="*/ 10 h 517"/>
                  <a:gd name="T92" fmla="*/ 147 w 570"/>
                  <a:gd name="T93" fmla="*/ 24 h 517"/>
                  <a:gd name="T94" fmla="*/ 181 w 570"/>
                  <a:gd name="T95" fmla="*/ 31 h 517"/>
                  <a:gd name="T96" fmla="*/ 208 w 570"/>
                  <a:gd name="T97" fmla="*/ 46 h 517"/>
                  <a:gd name="T98" fmla="*/ 233 w 570"/>
                  <a:gd name="T99" fmla="*/ 37 h 517"/>
                  <a:gd name="T100" fmla="*/ 264 w 570"/>
                  <a:gd name="T101" fmla="*/ 20 h 517"/>
                  <a:gd name="T102" fmla="*/ 293 w 570"/>
                  <a:gd name="T103" fmla="*/ 17 h 517"/>
                  <a:gd name="T104" fmla="*/ 325 w 570"/>
                  <a:gd name="T105" fmla="*/ 0 h 517"/>
                  <a:gd name="T106" fmla="*/ 346 w 570"/>
                  <a:gd name="T107" fmla="*/ 17 h 517"/>
                  <a:gd name="T108" fmla="*/ 342 w 570"/>
                  <a:gd name="T109" fmla="*/ 41 h 517"/>
                  <a:gd name="T110" fmla="*/ 361 w 570"/>
                  <a:gd name="T111" fmla="*/ 61 h 517"/>
                  <a:gd name="T112" fmla="*/ 388 w 570"/>
                  <a:gd name="T113" fmla="*/ 73 h 517"/>
                  <a:gd name="T114" fmla="*/ 397 w 570"/>
                  <a:gd name="T115" fmla="*/ 92 h 517"/>
                  <a:gd name="T116" fmla="*/ 400 w 570"/>
                  <a:gd name="T117" fmla="*/ 124 h 517"/>
                  <a:gd name="T118" fmla="*/ 432 w 570"/>
                  <a:gd name="T119" fmla="*/ 134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70" h="517">
                    <a:moveTo>
                      <a:pt x="453" y="136"/>
                    </a:moveTo>
                    <a:lnTo>
                      <a:pt x="456" y="136"/>
                    </a:lnTo>
                    <a:lnTo>
                      <a:pt x="461" y="134"/>
                    </a:lnTo>
                    <a:lnTo>
                      <a:pt x="468" y="139"/>
                    </a:lnTo>
                    <a:lnTo>
                      <a:pt x="475" y="141"/>
                    </a:lnTo>
                    <a:lnTo>
                      <a:pt x="478" y="141"/>
                    </a:lnTo>
                    <a:lnTo>
                      <a:pt x="482" y="146"/>
                    </a:lnTo>
                    <a:lnTo>
                      <a:pt x="485" y="149"/>
                    </a:lnTo>
                    <a:lnTo>
                      <a:pt x="485" y="154"/>
                    </a:lnTo>
                    <a:lnTo>
                      <a:pt x="489" y="161"/>
                    </a:lnTo>
                    <a:lnTo>
                      <a:pt x="487" y="166"/>
                    </a:lnTo>
                    <a:lnTo>
                      <a:pt x="487" y="171"/>
                    </a:lnTo>
                    <a:lnTo>
                      <a:pt x="485" y="176"/>
                    </a:lnTo>
                    <a:lnTo>
                      <a:pt x="482" y="180"/>
                    </a:lnTo>
                    <a:lnTo>
                      <a:pt x="482" y="185"/>
                    </a:lnTo>
                    <a:lnTo>
                      <a:pt x="480" y="188"/>
                    </a:lnTo>
                    <a:lnTo>
                      <a:pt x="478" y="192"/>
                    </a:lnTo>
                    <a:lnTo>
                      <a:pt x="475" y="195"/>
                    </a:lnTo>
                    <a:lnTo>
                      <a:pt x="472" y="197"/>
                    </a:lnTo>
                    <a:lnTo>
                      <a:pt x="463" y="200"/>
                    </a:lnTo>
                    <a:lnTo>
                      <a:pt x="463" y="203"/>
                    </a:lnTo>
                    <a:lnTo>
                      <a:pt x="463" y="209"/>
                    </a:lnTo>
                    <a:lnTo>
                      <a:pt x="460" y="209"/>
                    </a:lnTo>
                    <a:lnTo>
                      <a:pt x="453" y="205"/>
                    </a:lnTo>
                    <a:lnTo>
                      <a:pt x="450" y="205"/>
                    </a:lnTo>
                    <a:lnTo>
                      <a:pt x="446" y="205"/>
                    </a:lnTo>
                    <a:lnTo>
                      <a:pt x="443" y="207"/>
                    </a:lnTo>
                    <a:lnTo>
                      <a:pt x="439" y="205"/>
                    </a:lnTo>
                    <a:lnTo>
                      <a:pt x="434" y="205"/>
                    </a:lnTo>
                    <a:lnTo>
                      <a:pt x="432" y="209"/>
                    </a:lnTo>
                    <a:lnTo>
                      <a:pt x="438" y="209"/>
                    </a:lnTo>
                    <a:lnTo>
                      <a:pt x="439" y="214"/>
                    </a:lnTo>
                    <a:lnTo>
                      <a:pt x="439" y="219"/>
                    </a:lnTo>
                    <a:lnTo>
                      <a:pt x="441" y="222"/>
                    </a:lnTo>
                    <a:lnTo>
                      <a:pt x="438" y="220"/>
                    </a:lnTo>
                    <a:lnTo>
                      <a:pt x="432" y="222"/>
                    </a:lnTo>
                    <a:lnTo>
                      <a:pt x="429" y="224"/>
                    </a:lnTo>
                    <a:lnTo>
                      <a:pt x="432" y="226"/>
                    </a:lnTo>
                    <a:lnTo>
                      <a:pt x="438" y="229"/>
                    </a:lnTo>
                    <a:lnTo>
                      <a:pt x="441" y="231"/>
                    </a:lnTo>
                    <a:lnTo>
                      <a:pt x="439" y="234"/>
                    </a:lnTo>
                    <a:lnTo>
                      <a:pt x="444" y="236"/>
                    </a:lnTo>
                    <a:lnTo>
                      <a:pt x="443" y="241"/>
                    </a:lnTo>
                    <a:lnTo>
                      <a:pt x="446" y="244"/>
                    </a:lnTo>
                    <a:lnTo>
                      <a:pt x="443" y="251"/>
                    </a:lnTo>
                    <a:lnTo>
                      <a:pt x="443" y="254"/>
                    </a:lnTo>
                    <a:lnTo>
                      <a:pt x="444" y="258"/>
                    </a:lnTo>
                    <a:lnTo>
                      <a:pt x="444" y="261"/>
                    </a:lnTo>
                    <a:lnTo>
                      <a:pt x="450" y="263"/>
                    </a:lnTo>
                    <a:lnTo>
                      <a:pt x="453" y="265"/>
                    </a:lnTo>
                    <a:lnTo>
                      <a:pt x="456" y="270"/>
                    </a:lnTo>
                    <a:lnTo>
                      <a:pt x="463" y="273"/>
                    </a:lnTo>
                    <a:lnTo>
                      <a:pt x="467" y="275"/>
                    </a:lnTo>
                    <a:lnTo>
                      <a:pt x="470" y="276"/>
                    </a:lnTo>
                    <a:lnTo>
                      <a:pt x="473" y="276"/>
                    </a:lnTo>
                    <a:lnTo>
                      <a:pt x="478" y="278"/>
                    </a:lnTo>
                    <a:lnTo>
                      <a:pt x="478" y="283"/>
                    </a:lnTo>
                    <a:lnTo>
                      <a:pt x="473" y="288"/>
                    </a:lnTo>
                    <a:lnTo>
                      <a:pt x="470" y="288"/>
                    </a:lnTo>
                    <a:lnTo>
                      <a:pt x="470" y="293"/>
                    </a:lnTo>
                    <a:lnTo>
                      <a:pt x="467" y="298"/>
                    </a:lnTo>
                    <a:lnTo>
                      <a:pt x="470" y="302"/>
                    </a:lnTo>
                    <a:lnTo>
                      <a:pt x="473" y="305"/>
                    </a:lnTo>
                    <a:lnTo>
                      <a:pt x="477" y="307"/>
                    </a:lnTo>
                    <a:lnTo>
                      <a:pt x="480" y="307"/>
                    </a:lnTo>
                    <a:lnTo>
                      <a:pt x="484" y="309"/>
                    </a:lnTo>
                    <a:lnTo>
                      <a:pt x="489" y="312"/>
                    </a:lnTo>
                    <a:lnTo>
                      <a:pt x="487" y="317"/>
                    </a:lnTo>
                    <a:lnTo>
                      <a:pt x="490" y="321"/>
                    </a:lnTo>
                    <a:lnTo>
                      <a:pt x="490" y="324"/>
                    </a:lnTo>
                    <a:lnTo>
                      <a:pt x="492" y="329"/>
                    </a:lnTo>
                    <a:lnTo>
                      <a:pt x="495" y="332"/>
                    </a:lnTo>
                    <a:lnTo>
                      <a:pt x="492" y="336"/>
                    </a:lnTo>
                    <a:lnTo>
                      <a:pt x="494" y="339"/>
                    </a:lnTo>
                    <a:lnTo>
                      <a:pt x="497" y="344"/>
                    </a:lnTo>
                    <a:lnTo>
                      <a:pt x="504" y="346"/>
                    </a:lnTo>
                    <a:lnTo>
                      <a:pt x="506" y="351"/>
                    </a:lnTo>
                    <a:lnTo>
                      <a:pt x="507" y="356"/>
                    </a:lnTo>
                    <a:lnTo>
                      <a:pt x="511" y="358"/>
                    </a:lnTo>
                    <a:lnTo>
                      <a:pt x="514" y="360"/>
                    </a:lnTo>
                    <a:lnTo>
                      <a:pt x="519" y="361"/>
                    </a:lnTo>
                    <a:lnTo>
                      <a:pt x="524" y="365"/>
                    </a:lnTo>
                    <a:lnTo>
                      <a:pt x="528" y="371"/>
                    </a:lnTo>
                    <a:lnTo>
                      <a:pt x="533" y="370"/>
                    </a:lnTo>
                    <a:lnTo>
                      <a:pt x="538" y="373"/>
                    </a:lnTo>
                    <a:lnTo>
                      <a:pt x="541" y="378"/>
                    </a:lnTo>
                    <a:lnTo>
                      <a:pt x="541" y="383"/>
                    </a:lnTo>
                    <a:lnTo>
                      <a:pt x="541" y="388"/>
                    </a:lnTo>
                    <a:lnTo>
                      <a:pt x="545" y="393"/>
                    </a:lnTo>
                    <a:lnTo>
                      <a:pt x="548" y="397"/>
                    </a:lnTo>
                    <a:lnTo>
                      <a:pt x="552" y="402"/>
                    </a:lnTo>
                    <a:lnTo>
                      <a:pt x="557" y="402"/>
                    </a:lnTo>
                    <a:lnTo>
                      <a:pt x="565" y="405"/>
                    </a:lnTo>
                    <a:lnTo>
                      <a:pt x="569" y="409"/>
                    </a:lnTo>
                    <a:lnTo>
                      <a:pt x="569" y="412"/>
                    </a:lnTo>
                    <a:lnTo>
                      <a:pt x="569" y="415"/>
                    </a:lnTo>
                    <a:lnTo>
                      <a:pt x="569" y="421"/>
                    </a:lnTo>
                    <a:lnTo>
                      <a:pt x="567" y="424"/>
                    </a:lnTo>
                    <a:lnTo>
                      <a:pt x="570" y="427"/>
                    </a:lnTo>
                    <a:lnTo>
                      <a:pt x="563" y="431"/>
                    </a:lnTo>
                    <a:lnTo>
                      <a:pt x="558" y="438"/>
                    </a:lnTo>
                    <a:lnTo>
                      <a:pt x="553" y="438"/>
                    </a:lnTo>
                    <a:lnTo>
                      <a:pt x="553" y="443"/>
                    </a:lnTo>
                    <a:lnTo>
                      <a:pt x="548" y="446"/>
                    </a:lnTo>
                    <a:lnTo>
                      <a:pt x="548" y="449"/>
                    </a:lnTo>
                    <a:lnTo>
                      <a:pt x="545" y="453"/>
                    </a:lnTo>
                    <a:lnTo>
                      <a:pt x="546" y="456"/>
                    </a:lnTo>
                    <a:lnTo>
                      <a:pt x="548" y="460"/>
                    </a:lnTo>
                    <a:lnTo>
                      <a:pt x="546" y="466"/>
                    </a:lnTo>
                    <a:lnTo>
                      <a:pt x="545" y="471"/>
                    </a:lnTo>
                    <a:lnTo>
                      <a:pt x="543" y="475"/>
                    </a:lnTo>
                    <a:lnTo>
                      <a:pt x="541" y="480"/>
                    </a:lnTo>
                    <a:lnTo>
                      <a:pt x="538" y="482"/>
                    </a:lnTo>
                    <a:lnTo>
                      <a:pt x="541" y="487"/>
                    </a:lnTo>
                    <a:lnTo>
                      <a:pt x="541" y="490"/>
                    </a:lnTo>
                    <a:lnTo>
                      <a:pt x="536" y="493"/>
                    </a:lnTo>
                    <a:lnTo>
                      <a:pt x="533" y="495"/>
                    </a:lnTo>
                    <a:lnTo>
                      <a:pt x="529" y="492"/>
                    </a:lnTo>
                    <a:lnTo>
                      <a:pt x="529" y="487"/>
                    </a:lnTo>
                    <a:lnTo>
                      <a:pt x="526" y="487"/>
                    </a:lnTo>
                    <a:lnTo>
                      <a:pt x="523" y="485"/>
                    </a:lnTo>
                    <a:lnTo>
                      <a:pt x="516" y="485"/>
                    </a:lnTo>
                    <a:lnTo>
                      <a:pt x="507" y="485"/>
                    </a:lnTo>
                    <a:lnTo>
                      <a:pt x="504" y="487"/>
                    </a:lnTo>
                    <a:lnTo>
                      <a:pt x="499" y="488"/>
                    </a:lnTo>
                    <a:lnTo>
                      <a:pt x="494" y="490"/>
                    </a:lnTo>
                    <a:lnTo>
                      <a:pt x="492" y="495"/>
                    </a:lnTo>
                    <a:lnTo>
                      <a:pt x="490" y="499"/>
                    </a:lnTo>
                    <a:lnTo>
                      <a:pt x="484" y="502"/>
                    </a:lnTo>
                    <a:lnTo>
                      <a:pt x="482" y="505"/>
                    </a:lnTo>
                    <a:lnTo>
                      <a:pt x="477" y="512"/>
                    </a:lnTo>
                    <a:lnTo>
                      <a:pt x="475" y="516"/>
                    </a:lnTo>
                    <a:lnTo>
                      <a:pt x="472" y="517"/>
                    </a:lnTo>
                    <a:lnTo>
                      <a:pt x="463" y="516"/>
                    </a:lnTo>
                    <a:lnTo>
                      <a:pt x="458" y="516"/>
                    </a:lnTo>
                    <a:lnTo>
                      <a:pt x="453" y="514"/>
                    </a:lnTo>
                    <a:lnTo>
                      <a:pt x="450" y="510"/>
                    </a:lnTo>
                    <a:lnTo>
                      <a:pt x="446" y="507"/>
                    </a:lnTo>
                    <a:lnTo>
                      <a:pt x="443" y="505"/>
                    </a:lnTo>
                    <a:lnTo>
                      <a:pt x="439" y="509"/>
                    </a:lnTo>
                    <a:lnTo>
                      <a:pt x="432" y="509"/>
                    </a:lnTo>
                    <a:lnTo>
                      <a:pt x="436" y="505"/>
                    </a:lnTo>
                    <a:lnTo>
                      <a:pt x="436" y="499"/>
                    </a:lnTo>
                    <a:lnTo>
                      <a:pt x="432" y="493"/>
                    </a:lnTo>
                    <a:lnTo>
                      <a:pt x="429" y="488"/>
                    </a:lnTo>
                    <a:lnTo>
                      <a:pt x="426" y="487"/>
                    </a:lnTo>
                    <a:lnTo>
                      <a:pt x="421" y="483"/>
                    </a:lnTo>
                    <a:lnTo>
                      <a:pt x="414" y="477"/>
                    </a:lnTo>
                    <a:lnTo>
                      <a:pt x="409" y="475"/>
                    </a:lnTo>
                    <a:lnTo>
                      <a:pt x="405" y="475"/>
                    </a:lnTo>
                    <a:lnTo>
                      <a:pt x="400" y="470"/>
                    </a:lnTo>
                    <a:lnTo>
                      <a:pt x="395" y="465"/>
                    </a:lnTo>
                    <a:lnTo>
                      <a:pt x="392" y="461"/>
                    </a:lnTo>
                    <a:lnTo>
                      <a:pt x="388" y="458"/>
                    </a:lnTo>
                    <a:lnTo>
                      <a:pt x="385" y="460"/>
                    </a:lnTo>
                    <a:lnTo>
                      <a:pt x="380" y="460"/>
                    </a:lnTo>
                    <a:lnTo>
                      <a:pt x="376" y="461"/>
                    </a:lnTo>
                    <a:lnTo>
                      <a:pt x="373" y="463"/>
                    </a:lnTo>
                    <a:lnTo>
                      <a:pt x="370" y="461"/>
                    </a:lnTo>
                    <a:lnTo>
                      <a:pt x="364" y="461"/>
                    </a:lnTo>
                    <a:lnTo>
                      <a:pt x="361" y="458"/>
                    </a:lnTo>
                    <a:lnTo>
                      <a:pt x="359" y="453"/>
                    </a:lnTo>
                    <a:lnTo>
                      <a:pt x="356" y="449"/>
                    </a:lnTo>
                    <a:lnTo>
                      <a:pt x="353" y="446"/>
                    </a:lnTo>
                    <a:lnTo>
                      <a:pt x="347" y="446"/>
                    </a:lnTo>
                    <a:lnTo>
                      <a:pt x="344" y="443"/>
                    </a:lnTo>
                    <a:lnTo>
                      <a:pt x="341" y="441"/>
                    </a:lnTo>
                    <a:lnTo>
                      <a:pt x="337" y="444"/>
                    </a:lnTo>
                    <a:lnTo>
                      <a:pt x="329" y="439"/>
                    </a:lnTo>
                    <a:lnTo>
                      <a:pt x="329" y="434"/>
                    </a:lnTo>
                    <a:lnTo>
                      <a:pt x="332" y="431"/>
                    </a:lnTo>
                    <a:lnTo>
                      <a:pt x="336" y="429"/>
                    </a:lnTo>
                    <a:lnTo>
                      <a:pt x="337" y="426"/>
                    </a:lnTo>
                    <a:lnTo>
                      <a:pt x="339" y="421"/>
                    </a:lnTo>
                    <a:lnTo>
                      <a:pt x="337" y="415"/>
                    </a:lnTo>
                    <a:lnTo>
                      <a:pt x="336" y="412"/>
                    </a:lnTo>
                    <a:lnTo>
                      <a:pt x="337" y="407"/>
                    </a:lnTo>
                    <a:lnTo>
                      <a:pt x="341" y="404"/>
                    </a:lnTo>
                    <a:lnTo>
                      <a:pt x="344" y="400"/>
                    </a:lnTo>
                    <a:lnTo>
                      <a:pt x="349" y="399"/>
                    </a:lnTo>
                    <a:lnTo>
                      <a:pt x="351" y="395"/>
                    </a:lnTo>
                    <a:lnTo>
                      <a:pt x="351" y="390"/>
                    </a:lnTo>
                    <a:lnTo>
                      <a:pt x="351" y="385"/>
                    </a:lnTo>
                    <a:lnTo>
                      <a:pt x="349" y="382"/>
                    </a:lnTo>
                    <a:lnTo>
                      <a:pt x="347" y="378"/>
                    </a:lnTo>
                    <a:lnTo>
                      <a:pt x="344" y="373"/>
                    </a:lnTo>
                    <a:lnTo>
                      <a:pt x="342" y="368"/>
                    </a:lnTo>
                    <a:lnTo>
                      <a:pt x="339" y="363"/>
                    </a:lnTo>
                    <a:lnTo>
                      <a:pt x="336" y="360"/>
                    </a:lnTo>
                    <a:lnTo>
                      <a:pt x="334" y="356"/>
                    </a:lnTo>
                    <a:lnTo>
                      <a:pt x="332" y="353"/>
                    </a:lnTo>
                    <a:lnTo>
                      <a:pt x="329" y="348"/>
                    </a:lnTo>
                    <a:lnTo>
                      <a:pt x="327" y="343"/>
                    </a:lnTo>
                    <a:lnTo>
                      <a:pt x="324" y="339"/>
                    </a:lnTo>
                    <a:lnTo>
                      <a:pt x="322" y="334"/>
                    </a:lnTo>
                    <a:lnTo>
                      <a:pt x="320" y="329"/>
                    </a:lnTo>
                    <a:lnTo>
                      <a:pt x="317" y="326"/>
                    </a:lnTo>
                    <a:lnTo>
                      <a:pt x="313" y="321"/>
                    </a:lnTo>
                    <a:lnTo>
                      <a:pt x="312" y="317"/>
                    </a:lnTo>
                    <a:lnTo>
                      <a:pt x="308" y="314"/>
                    </a:lnTo>
                    <a:lnTo>
                      <a:pt x="307" y="310"/>
                    </a:lnTo>
                    <a:lnTo>
                      <a:pt x="301" y="305"/>
                    </a:lnTo>
                    <a:lnTo>
                      <a:pt x="296" y="300"/>
                    </a:lnTo>
                    <a:lnTo>
                      <a:pt x="293" y="297"/>
                    </a:lnTo>
                    <a:lnTo>
                      <a:pt x="290" y="293"/>
                    </a:lnTo>
                    <a:lnTo>
                      <a:pt x="284" y="292"/>
                    </a:lnTo>
                    <a:lnTo>
                      <a:pt x="279" y="288"/>
                    </a:lnTo>
                    <a:lnTo>
                      <a:pt x="274" y="290"/>
                    </a:lnTo>
                    <a:lnTo>
                      <a:pt x="269" y="293"/>
                    </a:lnTo>
                    <a:lnTo>
                      <a:pt x="266" y="297"/>
                    </a:lnTo>
                    <a:lnTo>
                      <a:pt x="264" y="302"/>
                    </a:lnTo>
                    <a:lnTo>
                      <a:pt x="262" y="305"/>
                    </a:lnTo>
                    <a:lnTo>
                      <a:pt x="259" y="305"/>
                    </a:lnTo>
                    <a:lnTo>
                      <a:pt x="254" y="304"/>
                    </a:lnTo>
                    <a:lnTo>
                      <a:pt x="249" y="302"/>
                    </a:lnTo>
                    <a:lnTo>
                      <a:pt x="244" y="302"/>
                    </a:lnTo>
                    <a:lnTo>
                      <a:pt x="240" y="305"/>
                    </a:lnTo>
                    <a:lnTo>
                      <a:pt x="235" y="309"/>
                    </a:lnTo>
                    <a:lnTo>
                      <a:pt x="232" y="312"/>
                    </a:lnTo>
                    <a:lnTo>
                      <a:pt x="230" y="315"/>
                    </a:lnTo>
                    <a:lnTo>
                      <a:pt x="227" y="314"/>
                    </a:lnTo>
                    <a:lnTo>
                      <a:pt x="222" y="315"/>
                    </a:lnTo>
                    <a:lnTo>
                      <a:pt x="216" y="317"/>
                    </a:lnTo>
                    <a:lnTo>
                      <a:pt x="213" y="314"/>
                    </a:lnTo>
                    <a:lnTo>
                      <a:pt x="210" y="312"/>
                    </a:lnTo>
                    <a:lnTo>
                      <a:pt x="205" y="312"/>
                    </a:lnTo>
                    <a:lnTo>
                      <a:pt x="201" y="315"/>
                    </a:lnTo>
                    <a:lnTo>
                      <a:pt x="198" y="315"/>
                    </a:lnTo>
                    <a:lnTo>
                      <a:pt x="194" y="317"/>
                    </a:lnTo>
                    <a:lnTo>
                      <a:pt x="189" y="319"/>
                    </a:lnTo>
                    <a:lnTo>
                      <a:pt x="186" y="322"/>
                    </a:lnTo>
                    <a:lnTo>
                      <a:pt x="182" y="324"/>
                    </a:lnTo>
                    <a:lnTo>
                      <a:pt x="176" y="327"/>
                    </a:lnTo>
                    <a:lnTo>
                      <a:pt x="172" y="329"/>
                    </a:lnTo>
                    <a:lnTo>
                      <a:pt x="169" y="331"/>
                    </a:lnTo>
                    <a:lnTo>
                      <a:pt x="164" y="334"/>
                    </a:lnTo>
                    <a:lnTo>
                      <a:pt x="164" y="327"/>
                    </a:lnTo>
                    <a:lnTo>
                      <a:pt x="165" y="321"/>
                    </a:lnTo>
                    <a:lnTo>
                      <a:pt x="167" y="317"/>
                    </a:lnTo>
                    <a:lnTo>
                      <a:pt x="169" y="312"/>
                    </a:lnTo>
                    <a:lnTo>
                      <a:pt x="174" y="312"/>
                    </a:lnTo>
                    <a:lnTo>
                      <a:pt x="177" y="312"/>
                    </a:lnTo>
                    <a:lnTo>
                      <a:pt x="184" y="309"/>
                    </a:lnTo>
                    <a:lnTo>
                      <a:pt x="184" y="304"/>
                    </a:lnTo>
                    <a:lnTo>
                      <a:pt x="191" y="298"/>
                    </a:lnTo>
                    <a:lnTo>
                      <a:pt x="193" y="295"/>
                    </a:lnTo>
                    <a:lnTo>
                      <a:pt x="194" y="290"/>
                    </a:lnTo>
                    <a:lnTo>
                      <a:pt x="201" y="288"/>
                    </a:lnTo>
                    <a:lnTo>
                      <a:pt x="203" y="283"/>
                    </a:lnTo>
                    <a:lnTo>
                      <a:pt x="201" y="278"/>
                    </a:lnTo>
                    <a:lnTo>
                      <a:pt x="201" y="275"/>
                    </a:lnTo>
                    <a:lnTo>
                      <a:pt x="198" y="271"/>
                    </a:lnTo>
                    <a:lnTo>
                      <a:pt x="194" y="268"/>
                    </a:lnTo>
                    <a:lnTo>
                      <a:pt x="188" y="268"/>
                    </a:lnTo>
                    <a:lnTo>
                      <a:pt x="184" y="268"/>
                    </a:lnTo>
                    <a:lnTo>
                      <a:pt x="179" y="266"/>
                    </a:lnTo>
                    <a:lnTo>
                      <a:pt x="174" y="261"/>
                    </a:lnTo>
                    <a:lnTo>
                      <a:pt x="169" y="256"/>
                    </a:lnTo>
                    <a:lnTo>
                      <a:pt x="165" y="253"/>
                    </a:lnTo>
                    <a:lnTo>
                      <a:pt x="162" y="249"/>
                    </a:lnTo>
                    <a:lnTo>
                      <a:pt x="159" y="246"/>
                    </a:lnTo>
                    <a:lnTo>
                      <a:pt x="153" y="242"/>
                    </a:lnTo>
                    <a:lnTo>
                      <a:pt x="150" y="241"/>
                    </a:lnTo>
                    <a:lnTo>
                      <a:pt x="145" y="237"/>
                    </a:lnTo>
                    <a:lnTo>
                      <a:pt x="142" y="239"/>
                    </a:lnTo>
                    <a:lnTo>
                      <a:pt x="136" y="244"/>
                    </a:lnTo>
                    <a:lnTo>
                      <a:pt x="133" y="244"/>
                    </a:lnTo>
                    <a:lnTo>
                      <a:pt x="128" y="251"/>
                    </a:lnTo>
                    <a:lnTo>
                      <a:pt x="126" y="256"/>
                    </a:lnTo>
                    <a:lnTo>
                      <a:pt x="123" y="258"/>
                    </a:lnTo>
                    <a:lnTo>
                      <a:pt x="119" y="256"/>
                    </a:lnTo>
                    <a:lnTo>
                      <a:pt x="116" y="258"/>
                    </a:lnTo>
                    <a:lnTo>
                      <a:pt x="119" y="254"/>
                    </a:lnTo>
                    <a:lnTo>
                      <a:pt x="116" y="251"/>
                    </a:lnTo>
                    <a:lnTo>
                      <a:pt x="108" y="249"/>
                    </a:lnTo>
                    <a:lnTo>
                      <a:pt x="104" y="248"/>
                    </a:lnTo>
                    <a:lnTo>
                      <a:pt x="101" y="246"/>
                    </a:lnTo>
                    <a:lnTo>
                      <a:pt x="96" y="246"/>
                    </a:lnTo>
                    <a:lnTo>
                      <a:pt x="92" y="249"/>
                    </a:lnTo>
                    <a:lnTo>
                      <a:pt x="94" y="253"/>
                    </a:lnTo>
                    <a:lnTo>
                      <a:pt x="96" y="259"/>
                    </a:lnTo>
                    <a:lnTo>
                      <a:pt x="97" y="263"/>
                    </a:lnTo>
                    <a:lnTo>
                      <a:pt x="94" y="261"/>
                    </a:lnTo>
                    <a:lnTo>
                      <a:pt x="91" y="261"/>
                    </a:lnTo>
                    <a:lnTo>
                      <a:pt x="85" y="261"/>
                    </a:lnTo>
                    <a:lnTo>
                      <a:pt x="84" y="256"/>
                    </a:lnTo>
                    <a:lnTo>
                      <a:pt x="85" y="253"/>
                    </a:lnTo>
                    <a:lnTo>
                      <a:pt x="85" y="249"/>
                    </a:lnTo>
                    <a:lnTo>
                      <a:pt x="85" y="244"/>
                    </a:lnTo>
                    <a:lnTo>
                      <a:pt x="84" y="241"/>
                    </a:lnTo>
                    <a:lnTo>
                      <a:pt x="84" y="236"/>
                    </a:lnTo>
                    <a:lnTo>
                      <a:pt x="82" y="232"/>
                    </a:lnTo>
                    <a:lnTo>
                      <a:pt x="79" y="224"/>
                    </a:lnTo>
                    <a:lnTo>
                      <a:pt x="77" y="219"/>
                    </a:lnTo>
                    <a:lnTo>
                      <a:pt x="75" y="215"/>
                    </a:lnTo>
                    <a:lnTo>
                      <a:pt x="70" y="207"/>
                    </a:lnTo>
                    <a:lnTo>
                      <a:pt x="68" y="203"/>
                    </a:lnTo>
                    <a:lnTo>
                      <a:pt x="65" y="198"/>
                    </a:lnTo>
                    <a:lnTo>
                      <a:pt x="62" y="195"/>
                    </a:lnTo>
                    <a:lnTo>
                      <a:pt x="57" y="190"/>
                    </a:lnTo>
                    <a:lnTo>
                      <a:pt x="51" y="185"/>
                    </a:lnTo>
                    <a:lnTo>
                      <a:pt x="48" y="180"/>
                    </a:lnTo>
                    <a:lnTo>
                      <a:pt x="46" y="176"/>
                    </a:lnTo>
                    <a:lnTo>
                      <a:pt x="43" y="168"/>
                    </a:lnTo>
                    <a:lnTo>
                      <a:pt x="41" y="164"/>
                    </a:lnTo>
                    <a:lnTo>
                      <a:pt x="40" y="159"/>
                    </a:lnTo>
                    <a:lnTo>
                      <a:pt x="38" y="156"/>
                    </a:lnTo>
                    <a:lnTo>
                      <a:pt x="34" y="151"/>
                    </a:lnTo>
                    <a:lnTo>
                      <a:pt x="28" y="142"/>
                    </a:lnTo>
                    <a:lnTo>
                      <a:pt x="24" y="136"/>
                    </a:lnTo>
                    <a:lnTo>
                      <a:pt x="21" y="132"/>
                    </a:lnTo>
                    <a:lnTo>
                      <a:pt x="19" y="129"/>
                    </a:lnTo>
                    <a:lnTo>
                      <a:pt x="16" y="125"/>
                    </a:lnTo>
                    <a:lnTo>
                      <a:pt x="11" y="122"/>
                    </a:lnTo>
                    <a:lnTo>
                      <a:pt x="7" y="117"/>
                    </a:lnTo>
                    <a:lnTo>
                      <a:pt x="0" y="114"/>
                    </a:lnTo>
                    <a:lnTo>
                      <a:pt x="2" y="109"/>
                    </a:lnTo>
                    <a:lnTo>
                      <a:pt x="7" y="105"/>
                    </a:lnTo>
                    <a:lnTo>
                      <a:pt x="12" y="105"/>
                    </a:lnTo>
                    <a:lnTo>
                      <a:pt x="19" y="102"/>
                    </a:lnTo>
                    <a:lnTo>
                      <a:pt x="21" y="98"/>
                    </a:lnTo>
                    <a:lnTo>
                      <a:pt x="17" y="93"/>
                    </a:lnTo>
                    <a:lnTo>
                      <a:pt x="21" y="90"/>
                    </a:lnTo>
                    <a:lnTo>
                      <a:pt x="26" y="88"/>
                    </a:lnTo>
                    <a:lnTo>
                      <a:pt x="31" y="88"/>
                    </a:lnTo>
                    <a:lnTo>
                      <a:pt x="34" y="81"/>
                    </a:lnTo>
                    <a:lnTo>
                      <a:pt x="31" y="76"/>
                    </a:lnTo>
                    <a:lnTo>
                      <a:pt x="28" y="71"/>
                    </a:lnTo>
                    <a:lnTo>
                      <a:pt x="28" y="68"/>
                    </a:lnTo>
                    <a:lnTo>
                      <a:pt x="28" y="64"/>
                    </a:lnTo>
                    <a:lnTo>
                      <a:pt x="28" y="58"/>
                    </a:lnTo>
                    <a:lnTo>
                      <a:pt x="31" y="54"/>
                    </a:lnTo>
                    <a:lnTo>
                      <a:pt x="28" y="51"/>
                    </a:lnTo>
                    <a:lnTo>
                      <a:pt x="26" y="47"/>
                    </a:lnTo>
                    <a:lnTo>
                      <a:pt x="24" y="44"/>
                    </a:lnTo>
                    <a:lnTo>
                      <a:pt x="28" y="41"/>
                    </a:lnTo>
                    <a:lnTo>
                      <a:pt x="31" y="41"/>
                    </a:lnTo>
                    <a:lnTo>
                      <a:pt x="34" y="39"/>
                    </a:lnTo>
                    <a:lnTo>
                      <a:pt x="40" y="36"/>
                    </a:lnTo>
                    <a:lnTo>
                      <a:pt x="45" y="31"/>
                    </a:lnTo>
                    <a:lnTo>
                      <a:pt x="48" y="25"/>
                    </a:lnTo>
                    <a:lnTo>
                      <a:pt x="51" y="25"/>
                    </a:lnTo>
                    <a:lnTo>
                      <a:pt x="57" y="27"/>
                    </a:lnTo>
                    <a:lnTo>
                      <a:pt x="60" y="29"/>
                    </a:lnTo>
                    <a:lnTo>
                      <a:pt x="62" y="32"/>
                    </a:lnTo>
                    <a:lnTo>
                      <a:pt x="60" y="36"/>
                    </a:lnTo>
                    <a:lnTo>
                      <a:pt x="63" y="39"/>
                    </a:lnTo>
                    <a:lnTo>
                      <a:pt x="68" y="42"/>
                    </a:lnTo>
                    <a:lnTo>
                      <a:pt x="72" y="47"/>
                    </a:lnTo>
                    <a:lnTo>
                      <a:pt x="75" y="47"/>
                    </a:lnTo>
                    <a:lnTo>
                      <a:pt x="80" y="47"/>
                    </a:lnTo>
                    <a:lnTo>
                      <a:pt x="84" y="47"/>
                    </a:lnTo>
                    <a:lnTo>
                      <a:pt x="91" y="51"/>
                    </a:lnTo>
                    <a:lnTo>
                      <a:pt x="89" y="46"/>
                    </a:lnTo>
                    <a:lnTo>
                      <a:pt x="89" y="41"/>
                    </a:lnTo>
                    <a:lnTo>
                      <a:pt x="82" y="32"/>
                    </a:lnTo>
                    <a:lnTo>
                      <a:pt x="82" y="25"/>
                    </a:lnTo>
                    <a:lnTo>
                      <a:pt x="84" y="20"/>
                    </a:lnTo>
                    <a:lnTo>
                      <a:pt x="85" y="17"/>
                    </a:lnTo>
                    <a:lnTo>
                      <a:pt x="89" y="12"/>
                    </a:lnTo>
                    <a:lnTo>
                      <a:pt x="91" y="8"/>
                    </a:lnTo>
                    <a:lnTo>
                      <a:pt x="94" y="10"/>
                    </a:lnTo>
                    <a:lnTo>
                      <a:pt x="99" y="17"/>
                    </a:lnTo>
                    <a:lnTo>
                      <a:pt x="102" y="17"/>
                    </a:lnTo>
                    <a:lnTo>
                      <a:pt x="102" y="14"/>
                    </a:lnTo>
                    <a:lnTo>
                      <a:pt x="104" y="10"/>
                    </a:lnTo>
                    <a:lnTo>
                      <a:pt x="108" y="10"/>
                    </a:lnTo>
                    <a:lnTo>
                      <a:pt x="113" y="10"/>
                    </a:lnTo>
                    <a:lnTo>
                      <a:pt x="116" y="10"/>
                    </a:lnTo>
                    <a:lnTo>
                      <a:pt x="119" y="10"/>
                    </a:lnTo>
                    <a:lnTo>
                      <a:pt x="125" y="14"/>
                    </a:lnTo>
                    <a:lnTo>
                      <a:pt x="128" y="14"/>
                    </a:lnTo>
                    <a:lnTo>
                      <a:pt x="133" y="14"/>
                    </a:lnTo>
                    <a:lnTo>
                      <a:pt x="136" y="15"/>
                    </a:lnTo>
                    <a:lnTo>
                      <a:pt x="140" y="19"/>
                    </a:lnTo>
                    <a:lnTo>
                      <a:pt x="147" y="24"/>
                    </a:lnTo>
                    <a:lnTo>
                      <a:pt x="150" y="24"/>
                    </a:lnTo>
                    <a:lnTo>
                      <a:pt x="153" y="24"/>
                    </a:lnTo>
                    <a:lnTo>
                      <a:pt x="160" y="27"/>
                    </a:lnTo>
                    <a:lnTo>
                      <a:pt x="164" y="27"/>
                    </a:lnTo>
                    <a:lnTo>
                      <a:pt x="169" y="27"/>
                    </a:lnTo>
                    <a:lnTo>
                      <a:pt x="172" y="29"/>
                    </a:lnTo>
                    <a:lnTo>
                      <a:pt x="177" y="31"/>
                    </a:lnTo>
                    <a:lnTo>
                      <a:pt x="181" y="31"/>
                    </a:lnTo>
                    <a:lnTo>
                      <a:pt x="184" y="34"/>
                    </a:lnTo>
                    <a:lnTo>
                      <a:pt x="188" y="34"/>
                    </a:lnTo>
                    <a:lnTo>
                      <a:pt x="189" y="37"/>
                    </a:lnTo>
                    <a:lnTo>
                      <a:pt x="191" y="42"/>
                    </a:lnTo>
                    <a:lnTo>
                      <a:pt x="194" y="44"/>
                    </a:lnTo>
                    <a:lnTo>
                      <a:pt x="198" y="44"/>
                    </a:lnTo>
                    <a:lnTo>
                      <a:pt x="201" y="44"/>
                    </a:lnTo>
                    <a:lnTo>
                      <a:pt x="208" y="46"/>
                    </a:lnTo>
                    <a:lnTo>
                      <a:pt x="211" y="41"/>
                    </a:lnTo>
                    <a:lnTo>
                      <a:pt x="216" y="44"/>
                    </a:lnTo>
                    <a:lnTo>
                      <a:pt x="216" y="47"/>
                    </a:lnTo>
                    <a:lnTo>
                      <a:pt x="220" y="49"/>
                    </a:lnTo>
                    <a:lnTo>
                      <a:pt x="225" y="49"/>
                    </a:lnTo>
                    <a:lnTo>
                      <a:pt x="228" y="44"/>
                    </a:lnTo>
                    <a:lnTo>
                      <a:pt x="230" y="41"/>
                    </a:lnTo>
                    <a:lnTo>
                      <a:pt x="233" y="37"/>
                    </a:lnTo>
                    <a:lnTo>
                      <a:pt x="237" y="37"/>
                    </a:lnTo>
                    <a:lnTo>
                      <a:pt x="239" y="34"/>
                    </a:lnTo>
                    <a:lnTo>
                      <a:pt x="244" y="32"/>
                    </a:lnTo>
                    <a:lnTo>
                      <a:pt x="247" y="34"/>
                    </a:lnTo>
                    <a:lnTo>
                      <a:pt x="259" y="32"/>
                    </a:lnTo>
                    <a:lnTo>
                      <a:pt x="262" y="29"/>
                    </a:lnTo>
                    <a:lnTo>
                      <a:pt x="264" y="25"/>
                    </a:lnTo>
                    <a:lnTo>
                      <a:pt x="264" y="20"/>
                    </a:lnTo>
                    <a:lnTo>
                      <a:pt x="266" y="17"/>
                    </a:lnTo>
                    <a:lnTo>
                      <a:pt x="271" y="17"/>
                    </a:lnTo>
                    <a:lnTo>
                      <a:pt x="274" y="19"/>
                    </a:lnTo>
                    <a:lnTo>
                      <a:pt x="279" y="22"/>
                    </a:lnTo>
                    <a:lnTo>
                      <a:pt x="283" y="24"/>
                    </a:lnTo>
                    <a:lnTo>
                      <a:pt x="286" y="24"/>
                    </a:lnTo>
                    <a:lnTo>
                      <a:pt x="290" y="22"/>
                    </a:lnTo>
                    <a:lnTo>
                      <a:pt x="293" y="17"/>
                    </a:lnTo>
                    <a:lnTo>
                      <a:pt x="298" y="15"/>
                    </a:lnTo>
                    <a:lnTo>
                      <a:pt x="301" y="14"/>
                    </a:lnTo>
                    <a:lnTo>
                      <a:pt x="305" y="14"/>
                    </a:lnTo>
                    <a:lnTo>
                      <a:pt x="310" y="12"/>
                    </a:lnTo>
                    <a:lnTo>
                      <a:pt x="315" y="8"/>
                    </a:lnTo>
                    <a:lnTo>
                      <a:pt x="319" y="7"/>
                    </a:lnTo>
                    <a:lnTo>
                      <a:pt x="322" y="3"/>
                    </a:lnTo>
                    <a:lnTo>
                      <a:pt x="325" y="0"/>
                    </a:lnTo>
                    <a:lnTo>
                      <a:pt x="329" y="2"/>
                    </a:lnTo>
                    <a:lnTo>
                      <a:pt x="330" y="7"/>
                    </a:lnTo>
                    <a:lnTo>
                      <a:pt x="332" y="10"/>
                    </a:lnTo>
                    <a:lnTo>
                      <a:pt x="332" y="10"/>
                    </a:lnTo>
                    <a:lnTo>
                      <a:pt x="336" y="10"/>
                    </a:lnTo>
                    <a:lnTo>
                      <a:pt x="337" y="14"/>
                    </a:lnTo>
                    <a:lnTo>
                      <a:pt x="341" y="15"/>
                    </a:lnTo>
                    <a:lnTo>
                      <a:pt x="346" y="17"/>
                    </a:lnTo>
                    <a:lnTo>
                      <a:pt x="351" y="17"/>
                    </a:lnTo>
                    <a:lnTo>
                      <a:pt x="353" y="20"/>
                    </a:lnTo>
                    <a:lnTo>
                      <a:pt x="349" y="24"/>
                    </a:lnTo>
                    <a:lnTo>
                      <a:pt x="349" y="27"/>
                    </a:lnTo>
                    <a:lnTo>
                      <a:pt x="351" y="31"/>
                    </a:lnTo>
                    <a:lnTo>
                      <a:pt x="347" y="34"/>
                    </a:lnTo>
                    <a:lnTo>
                      <a:pt x="346" y="37"/>
                    </a:lnTo>
                    <a:lnTo>
                      <a:pt x="342" y="41"/>
                    </a:lnTo>
                    <a:lnTo>
                      <a:pt x="344" y="44"/>
                    </a:lnTo>
                    <a:lnTo>
                      <a:pt x="344" y="47"/>
                    </a:lnTo>
                    <a:lnTo>
                      <a:pt x="346" y="51"/>
                    </a:lnTo>
                    <a:lnTo>
                      <a:pt x="349" y="54"/>
                    </a:lnTo>
                    <a:lnTo>
                      <a:pt x="353" y="54"/>
                    </a:lnTo>
                    <a:lnTo>
                      <a:pt x="358" y="56"/>
                    </a:lnTo>
                    <a:lnTo>
                      <a:pt x="361" y="58"/>
                    </a:lnTo>
                    <a:lnTo>
                      <a:pt x="361" y="61"/>
                    </a:lnTo>
                    <a:lnTo>
                      <a:pt x="364" y="64"/>
                    </a:lnTo>
                    <a:lnTo>
                      <a:pt x="364" y="68"/>
                    </a:lnTo>
                    <a:lnTo>
                      <a:pt x="368" y="70"/>
                    </a:lnTo>
                    <a:lnTo>
                      <a:pt x="373" y="68"/>
                    </a:lnTo>
                    <a:lnTo>
                      <a:pt x="376" y="68"/>
                    </a:lnTo>
                    <a:lnTo>
                      <a:pt x="381" y="66"/>
                    </a:lnTo>
                    <a:lnTo>
                      <a:pt x="385" y="70"/>
                    </a:lnTo>
                    <a:lnTo>
                      <a:pt x="388" y="73"/>
                    </a:lnTo>
                    <a:lnTo>
                      <a:pt x="392" y="71"/>
                    </a:lnTo>
                    <a:lnTo>
                      <a:pt x="395" y="71"/>
                    </a:lnTo>
                    <a:lnTo>
                      <a:pt x="398" y="75"/>
                    </a:lnTo>
                    <a:lnTo>
                      <a:pt x="402" y="78"/>
                    </a:lnTo>
                    <a:lnTo>
                      <a:pt x="404" y="81"/>
                    </a:lnTo>
                    <a:lnTo>
                      <a:pt x="398" y="83"/>
                    </a:lnTo>
                    <a:lnTo>
                      <a:pt x="395" y="86"/>
                    </a:lnTo>
                    <a:lnTo>
                      <a:pt x="397" y="92"/>
                    </a:lnTo>
                    <a:lnTo>
                      <a:pt x="400" y="95"/>
                    </a:lnTo>
                    <a:lnTo>
                      <a:pt x="397" y="98"/>
                    </a:lnTo>
                    <a:lnTo>
                      <a:pt x="392" y="102"/>
                    </a:lnTo>
                    <a:lnTo>
                      <a:pt x="390" y="105"/>
                    </a:lnTo>
                    <a:lnTo>
                      <a:pt x="388" y="112"/>
                    </a:lnTo>
                    <a:lnTo>
                      <a:pt x="390" y="115"/>
                    </a:lnTo>
                    <a:lnTo>
                      <a:pt x="393" y="117"/>
                    </a:lnTo>
                    <a:lnTo>
                      <a:pt x="400" y="124"/>
                    </a:lnTo>
                    <a:lnTo>
                      <a:pt x="402" y="129"/>
                    </a:lnTo>
                    <a:lnTo>
                      <a:pt x="409" y="131"/>
                    </a:lnTo>
                    <a:lnTo>
                      <a:pt x="412" y="132"/>
                    </a:lnTo>
                    <a:lnTo>
                      <a:pt x="417" y="129"/>
                    </a:lnTo>
                    <a:lnTo>
                      <a:pt x="422" y="131"/>
                    </a:lnTo>
                    <a:lnTo>
                      <a:pt x="426" y="131"/>
                    </a:lnTo>
                    <a:lnTo>
                      <a:pt x="429" y="132"/>
                    </a:lnTo>
                    <a:lnTo>
                      <a:pt x="432" y="134"/>
                    </a:lnTo>
                    <a:lnTo>
                      <a:pt x="436" y="131"/>
                    </a:lnTo>
                    <a:lnTo>
                      <a:pt x="439" y="127"/>
                    </a:lnTo>
                    <a:lnTo>
                      <a:pt x="443" y="129"/>
                    </a:lnTo>
                    <a:lnTo>
                      <a:pt x="448" y="131"/>
                    </a:lnTo>
                    <a:lnTo>
                      <a:pt x="453" y="136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7" name="Line 74">
                <a:extLst>
                  <a:ext uri="{FF2B5EF4-FFF2-40B4-BE49-F238E27FC236}">
                    <a16:creationId xmlns:a16="http://schemas.microsoft.com/office/drawing/2014/main" id="{3865687A-D4A0-4A20-24FA-D5F093736D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09150" y="44973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8" name="Line 75">
                <a:extLst>
                  <a:ext uri="{FF2B5EF4-FFF2-40B4-BE49-F238E27FC236}">
                    <a16:creationId xmlns:a16="http://schemas.microsoft.com/office/drawing/2014/main" id="{E8AA6681-6AF2-C493-D111-D8F214CBC5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05975" y="44973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49" name="Line 76">
                <a:extLst>
                  <a:ext uri="{FF2B5EF4-FFF2-40B4-BE49-F238E27FC236}">
                    <a16:creationId xmlns:a16="http://schemas.microsoft.com/office/drawing/2014/main" id="{29439096-D142-136C-C574-1F915DCE8F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94863" y="44910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0" name="Line 77">
                <a:extLst>
                  <a:ext uri="{FF2B5EF4-FFF2-40B4-BE49-F238E27FC236}">
                    <a16:creationId xmlns:a16="http://schemas.microsoft.com/office/drawing/2014/main" id="{0AB98F6C-333D-0E9D-9AFA-B3F06E057C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21838" y="44132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1" name="Line 78">
                <a:extLst>
                  <a:ext uri="{FF2B5EF4-FFF2-40B4-BE49-F238E27FC236}">
                    <a16:creationId xmlns:a16="http://schemas.microsoft.com/office/drawing/2014/main" id="{BF39485B-5753-A458-9557-C0BB5048D7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32950" y="44084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2" name="Line 79">
                <a:extLst>
                  <a:ext uri="{FF2B5EF4-FFF2-40B4-BE49-F238E27FC236}">
                    <a16:creationId xmlns:a16="http://schemas.microsoft.com/office/drawing/2014/main" id="{E4BCCCD1-8F40-6F08-DD10-F520534495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59963" y="43624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3" name="Line 80">
                <a:extLst>
                  <a:ext uri="{FF2B5EF4-FFF2-40B4-BE49-F238E27FC236}">
                    <a16:creationId xmlns:a16="http://schemas.microsoft.com/office/drawing/2014/main" id="{024EAA44-C9E5-B414-FB67-DBB9677961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86913" y="4300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4" name="Line 81">
                <a:extLst>
                  <a:ext uri="{FF2B5EF4-FFF2-40B4-BE49-F238E27FC236}">
                    <a16:creationId xmlns:a16="http://schemas.microsoft.com/office/drawing/2014/main" id="{511B6726-B260-E0A4-6A61-8E95209F45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83738" y="4300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5" name="Line 82">
                <a:extLst>
                  <a:ext uri="{FF2B5EF4-FFF2-40B4-BE49-F238E27FC236}">
                    <a16:creationId xmlns:a16="http://schemas.microsoft.com/office/drawing/2014/main" id="{38B3DF50-8CD8-140C-0CAB-89070267EB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75800" y="42926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6" name="Line 83">
                <a:extLst>
                  <a:ext uri="{FF2B5EF4-FFF2-40B4-BE49-F238E27FC236}">
                    <a16:creationId xmlns:a16="http://schemas.microsoft.com/office/drawing/2014/main" id="{9A10D4CC-622F-B599-325E-E00B362D73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71000" y="42259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7" name="Line 84">
                <a:extLst>
                  <a:ext uri="{FF2B5EF4-FFF2-40B4-BE49-F238E27FC236}">
                    <a16:creationId xmlns:a16="http://schemas.microsoft.com/office/drawing/2014/main" id="{6EA6753B-2C7D-01F3-3F37-4344D2FBF7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21838" y="40767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8" name="Line 85">
                <a:extLst>
                  <a:ext uri="{FF2B5EF4-FFF2-40B4-BE49-F238E27FC236}">
                    <a16:creationId xmlns:a16="http://schemas.microsoft.com/office/drawing/2014/main" id="{BFBFDC56-309B-B7F3-AE48-FDAF8FBA7C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10725" y="4071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59" name="Line 86">
                <a:extLst>
                  <a:ext uri="{FF2B5EF4-FFF2-40B4-BE49-F238E27FC236}">
                    <a16:creationId xmlns:a16="http://schemas.microsoft.com/office/drawing/2014/main" id="{950E274F-9ACA-4D8F-AB6A-EE0C77624A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09138" y="4071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0" name="Line 87">
                <a:extLst>
                  <a:ext uri="{FF2B5EF4-FFF2-40B4-BE49-F238E27FC236}">
                    <a16:creationId xmlns:a16="http://schemas.microsoft.com/office/drawing/2014/main" id="{DE35C545-E1F8-C6A7-1226-9C9D854583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05963" y="4071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1" name="Line 88">
                <a:extLst>
                  <a:ext uri="{FF2B5EF4-FFF2-40B4-BE49-F238E27FC236}">
                    <a16:creationId xmlns:a16="http://schemas.microsoft.com/office/drawing/2014/main" id="{B3542E5D-A7B3-3ADD-6E37-3294776950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32938" y="40497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2" name="Line 89">
                <a:extLst>
                  <a:ext uri="{FF2B5EF4-FFF2-40B4-BE49-F238E27FC236}">
                    <a16:creationId xmlns:a16="http://schemas.microsoft.com/office/drawing/2014/main" id="{2A8350E4-D6CB-54B7-CA99-3349DB8583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32938" y="40528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3" name="Line 90">
                <a:extLst>
                  <a:ext uri="{FF2B5EF4-FFF2-40B4-BE49-F238E27FC236}">
                    <a16:creationId xmlns:a16="http://schemas.microsoft.com/office/drawing/2014/main" id="{CBE8DE1A-8C1D-EB6D-494F-4466529AD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25000" y="40481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4" name="Line 91">
                <a:extLst>
                  <a:ext uri="{FF2B5EF4-FFF2-40B4-BE49-F238E27FC236}">
                    <a16:creationId xmlns:a16="http://schemas.microsoft.com/office/drawing/2014/main" id="{63A8C63F-068A-046B-AB79-DD181B1A3F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525000" y="40481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5" name="Line 92">
                <a:extLst>
                  <a:ext uri="{FF2B5EF4-FFF2-40B4-BE49-F238E27FC236}">
                    <a16:creationId xmlns:a16="http://schemas.microsoft.com/office/drawing/2014/main" id="{020A0135-3CD4-ADA0-7607-CF7F6B743B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88400" y="34956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6" name="Line 93">
                <a:extLst>
                  <a:ext uri="{FF2B5EF4-FFF2-40B4-BE49-F238E27FC236}">
                    <a16:creationId xmlns:a16="http://schemas.microsoft.com/office/drawing/2014/main" id="{5A26EF54-0C7D-42FE-DBDC-F9C63711F2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82050" y="34798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7" name="Line 94">
                <a:extLst>
                  <a:ext uri="{FF2B5EF4-FFF2-40B4-BE49-F238E27FC236}">
                    <a16:creationId xmlns:a16="http://schemas.microsoft.com/office/drawing/2014/main" id="{BA87EF65-FC36-CF84-661C-D514CD41C8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78875" y="34544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8" name="Line 95">
                <a:extLst>
                  <a:ext uri="{FF2B5EF4-FFF2-40B4-BE49-F238E27FC236}">
                    <a16:creationId xmlns:a16="http://schemas.microsoft.com/office/drawing/2014/main" id="{57BF73CE-79D1-2B35-333A-37E1A12E10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47125" y="34337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69" name="Freeform 96">
                <a:extLst>
                  <a:ext uri="{FF2B5EF4-FFF2-40B4-BE49-F238E27FC236}">
                    <a16:creationId xmlns:a16="http://schemas.microsoft.com/office/drawing/2014/main" id="{303BD1D7-02E2-6202-69D7-D8705395D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6113" y="3425825"/>
                <a:ext cx="1598612" cy="1109662"/>
              </a:xfrm>
              <a:custGeom>
                <a:avLst/>
                <a:gdLst>
                  <a:gd name="T0" fmla="*/ 364 w 1007"/>
                  <a:gd name="T1" fmla="*/ 214 h 699"/>
                  <a:gd name="T2" fmla="*/ 415 w 1007"/>
                  <a:gd name="T3" fmla="*/ 234 h 699"/>
                  <a:gd name="T4" fmla="*/ 465 w 1007"/>
                  <a:gd name="T5" fmla="*/ 251 h 699"/>
                  <a:gd name="T6" fmla="*/ 521 w 1007"/>
                  <a:gd name="T7" fmla="*/ 268 h 699"/>
                  <a:gd name="T8" fmla="*/ 558 w 1007"/>
                  <a:gd name="T9" fmla="*/ 278 h 699"/>
                  <a:gd name="T10" fmla="*/ 613 w 1007"/>
                  <a:gd name="T11" fmla="*/ 297 h 699"/>
                  <a:gd name="T12" fmla="*/ 662 w 1007"/>
                  <a:gd name="T13" fmla="*/ 332 h 699"/>
                  <a:gd name="T14" fmla="*/ 715 w 1007"/>
                  <a:gd name="T15" fmla="*/ 364 h 699"/>
                  <a:gd name="T16" fmla="*/ 769 w 1007"/>
                  <a:gd name="T17" fmla="*/ 380 h 699"/>
                  <a:gd name="T18" fmla="*/ 830 w 1007"/>
                  <a:gd name="T19" fmla="*/ 398 h 699"/>
                  <a:gd name="T20" fmla="*/ 847 w 1007"/>
                  <a:gd name="T21" fmla="*/ 409 h 699"/>
                  <a:gd name="T22" fmla="*/ 873 w 1007"/>
                  <a:gd name="T23" fmla="*/ 449 h 699"/>
                  <a:gd name="T24" fmla="*/ 922 w 1007"/>
                  <a:gd name="T25" fmla="*/ 478 h 699"/>
                  <a:gd name="T26" fmla="*/ 966 w 1007"/>
                  <a:gd name="T27" fmla="*/ 519 h 699"/>
                  <a:gd name="T28" fmla="*/ 994 w 1007"/>
                  <a:gd name="T29" fmla="*/ 559 h 699"/>
                  <a:gd name="T30" fmla="*/ 999 w 1007"/>
                  <a:gd name="T31" fmla="*/ 605 h 699"/>
                  <a:gd name="T32" fmla="*/ 983 w 1007"/>
                  <a:gd name="T33" fmla="*/ 668 h 699"/>
                  <a:gd name="T34" fmla="*/ 963 w 1007"/>
                  <a:gd name="T35" fmla="*/ 695 h 699"/>
                  <a:gd name="T36" fmla="*/ 917 w 1007"/>
                  <a:gd name="T37" fmla="*/ 682 h 699"/>
                  <a:gd name="T38" fmla="*/ 875 w 1007"/>
                  <a:gd name="T39" fmla="*/ 637 h 699"/>
                  <a:gd name="T40" fmla="*/ 870 w 1007"/>
                  <a:gd name="T41" fmla="*/ 598 h 699"/>
                  <a:gd name="T42" fmla="*/ 834 w 1007"/>
                  <a:gd name="T43" fmla="*/ 553 h 699"/>
                  <a:gd name="T44" fmla="*/ 795 w 1007"/>
                  <a:gd name="T45" fmla="*/ 539 h 699"/>
                  <a:gd name="T46" fmla="*/ 735 w 1007"/>
                  <a:gd name="T47" fmla="*/ 546 h 699"/>
                  <a:gd name="T48" fmla="*/ 691 w 1007"/>
                  <a:gd name="T49" fmla="*/ 532 h 699"/>
                  <a:gd name="T50" fmla="*/ 642 w 1007"/>
                  <a:gd name="T51" fmla="*/ 509 h 699"/>
                  <a:gd name="T52" fmla="*/ 623 w 1007"/>
                  <a:gd name="T53" fmla="*/ 485 h 699"/>
                  <a:gd name="T54" fmla="*/ 579 w 1007"/>
                  <a:gd name="T55" fmla="*/ 492 h 699"/>
                  <a:gd name="T56" fmla="*/ 536 w 1007"/>
                  <a:gd name="T57" fmla="*/ 515 h 699"/>
                  <a:gd name="T58" fmla="*/ 507 w 1007"/>
                  <a:gd name="T59" fmla="*/ 488 h 699"/>
                  <a:gd name="T60" fmla="*/ 504 w 1007"/>
                  <a:gd name="T61" fmla="*/ 436 h 699"/>
                  <a:gd name="T62" fmla="*/ 480 w 1007"/>
                  <a:gd name="T63" fmla="*/ 409 h 699"/>
                  <a:gd name="T64" fmla="*/ 453 w 1007"/>
                  <a:gd name="T65" fmla="*/ 419 h 699"/>
                  <a:gd name="T66" fmla="*/ 407 w 1007"/>
                  <a:gd name="T67" fmla="*/ 417 h 699"/>
                  <a:gd name="T68" fmla="*/ 364 w 1007"/>
                  <a:gd name="T69" fmla="*/ 373 h 699"/>
                  <a:gd name="T70" fmla="*/ 323 w 1007"/>
                  <a:gd name="T71" fmla="*/ 359 h 699"/>
                  <a:gd name="T72" fmla="*/ 308 w 1007"/>
                  <a:gd name="T73" fmla="*/ 334 h 699"/>
                  <a:gd name="T74" fmla="*/ 281 w 1007"/>
                  <a:gd name="T75" fmla="*/ 295 h 699"/>
                  <a:gd name="T76" fmla="*/ 243 w 1007"/>
                  <a:gd name="T77" fmla="*/ 307 h 699"/>
                  <a:gd name="T78" fmla="*/ 187 w 1007"/>
                  <a:gd name="T79" fmla="*/ 308 h 699"/>
                  <a:gd name="T80" fmla="*/ 147 w 1007"/>
                  <a:gd name="T81" fmla="*/ 315 h 699"/>
                  <a:gd name="T82" fmla="*/ 101 w 1007"/>
                  <a:gd name="T83" fmla="*/ 312 h 699"/>
                  <a:gd name="T84" fmla="*/ 94 w 1007"/>
                  <a:gd name="T85" fmla="*/ 266 h 699"/>
                  <a:gd name="T86" fmla="*/ 65 w 1007"/>
                  <a:gd name="T87" fmla="*/ 253 h 699"/>
                  <a:gd name="T88" fmla="*/ 39 w 1007"/>
                  <a:gd name="T89" fmla="*/ 224 h 699"/>
                  <a:gd name="T90" fmla="*/ 33 w 1007"/>
                  <a:gd name="T91" fmla="*/ 197 h 699"/>
                  <a:gd name="T92" fmla="*/ 4 w 1007"/>
                  <a:gd name="T93" fmla="*/ 159 h 699"/>
                  <a:gd name="T94" fmla="*/ 19 w 1007"/>
                  <a:gd name="T95" fmla="*/ 135 h 699"/>
                  <a:gd name="T96" fmla="*/ 46 w 1007"/>
                  <a:gd name="T97" fmla="*/ 108 h 699"/>
                  <a:gd name="T98" fmla="*/ 43 w 1007"/>
                  <a:gd name="T99" fmla="*/ 68 h 699"/>
                  <a:gd name="T100" fmla="*/ 53 w 1007"/>
                  <a:gd name="T101" fmla="*/ 27 h 699"/>
                  <a:gd name="T102" fmla="*/ 114 w 1007"/>
                  <a:gd name="T103" fmla="*/ 30 h 699"/>
                  <a:gd name="T104" fmla="*/ 170 w 1007"/>
                  <a:gd name="T105" fmla="*/ 17 h 699"/>
                  <a:gd name="T106" fmla="*/ 221 w 1007"/>
                  <a:gd name="T107" fmla="*/ 15 h 699"/>
                  <a:gd name="T108" fmla="*/ 283 w 1007"/>
                  <a:gd name="T109" fmla="*/ 2 h 699"/>
                  <a:gd name="T110" fmla="*/ 322 w 1007"/>
                  <a:gd name="T111" fmla="*/ 29 h 699"/>
                  <a:gd name="T112" fmla="*/ 315 w 1007"/>
                  <a:gd name="T113" fmla="*/ 71 h 699"/>
                  <a:gd name="T114" fmla="*/ 267 w 1007"/>
                  <a:gd name="T115" fmla="*/ 108 h 699"/>
                  <a:gd name="T116" fmla="*/ 266 w 1007"/>
                  <a:gd name="T117" fmla="*/ 163 h 699"/>
                  <a:gd name="T118" fmla="*/ 315 w 1007"/>
                  <a:gd name="T119" fmla="*/ 191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07" h="699">
                    <a:moveTo>
                      <a:pt x="320" y="193"/>
                    </a:moveTo>
                    <a:lnTo>
                      <a:pt x="323" y="197"/>
                    </a:lnTo>
                    <a:lnTo>
                      <a:pt x="330" y="198"/>
                    </a:lnTo>
                    <a:lnTo>
                      <a:pt x="334" y="200"/>
                    </a:lnTo>
                    <a:lnTo>
                      <a:pt x="340" y="203"/>
                    </a:lnTo>
                    <a:lnTo>
                      <a:pt x="344" y="203"/>
                    </a:lnTo>
                    <a:lnTo>
                      <a:pt x="349" y="207"/>
                    </a:lnTo>
                    <a:lnTo>
                      <a:pt x="352" y="208"/>
                    </a:lnTo>
                    <a:lnTo>
                      <a:pt x="356" y="212"/>
                    </a:lnTo>
                    <a:lnTo>
                      <a:pt x="361" y="214"/>
                    </a:lnTo>
                    <a:lnTo>
                      <a:pt x="364" y="214"/>
                    </a:lnTo>
                    <a:lnTo>
                      <a:pt x="368" y="215"/>
                    </a:lnTo>
                    <a:lnTo>
                      <a:pt x="373" y="215"/>
                    </a:lnTo>
                    <a:lnTo>
                      <a:pt x="378" y="217"/>
                    </a:lnTo>
                    <a:lnTo>
                      <a:pt x="381" y="217"/>
                    </a:lnTo>
                    <a:lnTo>
                      <a:pt x="385" y="219"/>
                    </a:lnTo>
                    <a:lnTo>
                      <a:pt x="388" y="220"/>
                    </a:lnTo>
                    <a:lnTo>
                      <a:pt x="391" y="222"/>
                    </a:lnTo>
                    <a:lnTo>
                      <a:pt x="398" y="225"/>
                    </a:lnTo>
                    <a:lnTo>
                      <a:pt x="402" y="225"/>
                    </a:lnTo>
                    <a:lnTo>
                      <a:pt x="410" y="230"/>
                    </a:lnTo>
                    <a:lnTo>
                      <a:pt x="415" y="234"/>
                    </a:lnTo>
                    <a:lnTo>
                      <a:pt x="419" y="234"/>
                    </a:lnTo>
                    <a:lnTo>
                      <a:pt x="424" y="236"/>
                    </a:lnTo>
                    <a:lnTo>
                      <a:pt x="427" y="236"/>
                    </a:lnTo>
                    <a:lnTo>
                      <a:pt x="432" y="237"/>
                    </a:lnTo>
                    <a:lnTo>
                      <a:pt x="436" y="239"/>
                    </a:lnTo>
                    <a:lnTo>
                      <a:pt x="439" y="242"/>
                    </a:lnTo>
                    <a:lnTo>
                      <a:pt x="446" y="244"/>
                    </a:lnTo>
                    <a:lnTo>
                      <a:pt x="449" y="247"/>
                    </a:lnTo>
                    <a:lnTo>
                      <a:pt x="453" y="249"/>
                    </a:lnTo>
                    <a:lnTo>
                      <a:pt x="461" y="251"/>
                    </a:lnTo>
                    <a:lnTo>
                      <a:pt x="465" y="251"/>
                    </a:lnTo>
                    <a:lnTo>
                      <a:pt x="470" y="253"/>
                    </a:lnTo>
                    <a:lnTo>
                      <a:pt x="473" y="253"/>
                    </a:lnTo>
                    <a:lnTo>
                      <a:pt x="480" y="256"/>
                    </a:lnTo>
                    <a:lnTo>
                      <a:pt x="487" y="258"/>
                    </a:lnTo>
                    <a:lnTo>
                      <a:pt x="492" y="258"/>
                    </a:lnTo>
                    <a:lnTo>
                      <a:pt x="497" y="259"/>
                    </a:lnTo>
                    <a:lnTo>
                      <a:pt x="502" y="261"/>
                    </a:lnTo>
                    <a:lnTo>
                      <a:pt x="507" y="264"/>
                    </a:lnTo>
                    <a:lnTo>
                      <a:pt x="511" y="266"/>
                    </a:lnTo>
                    <a:lnTo>
                      <a:pt x="517" y="268"/>
                    </a:lnTo>
                    <a:lnTo>
                      <a:pt x="521" y="268"/>
                    </a:lnTo>
                    <a:lnTo>
                      <a:pt x="524" y="269"/>
                    </a:lnTo>
                    <a:lnTo>
                      <a:pt x="528" y="264"/>
                    </a:lnTo>
                    <a:lnTo>
                      <a:pt x="524" y="264"/>
                    </a:lnTo>
                    <a:lnTo>
                      <a:pt x="528" y="264"/>
                    </a:lnTo>
                    <a:lnTo>
                      <a:pt x="528" y="268"/>
                    </a:lnTo>
                    <a:lnTo>
                      <a:pt x="534" y="271"/>
                    </a:lnTo>
                    <a:lnTo>
                      <a:pt x="539" y="273"/>
                    </a:lnTo>
                    <a:lnTo>
                      <a:pt x="545" y="275"/>
                    </a:lnTo>
                    <a:lnTo>
                      <a:pt x="550" y="276"/>
                    </a:lnTo>
                    <a:lnTo>
                      <a:pt x="553" y="278"/>
                    </a:lnTo>
                    <a:lnTo>
                      <a:pt x="558" y="278"/>
                    </a:lnTo>
                    <a:lnTo>
                      <a:pt x="563" y="280"/>
                    </a:lnTo>
                    <a:lnTo>
                      <a:pt x="567" y="281"/>
                    </a:lnTo>
                    <a:lnTo>
                      <a:pt x="572" y="281"/>
                    </a:lnTo>
                    <a:lnTo>
                      <a:pt x="577" y="281"/>
                    </a:lnTo>
                    <a:lnTo>
                      <a:pt x="582" y="285"/>
                    </a:lnTo>
                    <a:lnTo>
                      <a:pt x="589" y="288"/>
                    </a:lnTo>
                    <a:lnTo>
                      <a:pt x="596" y="292"/>
                    </a:lnTo>
                    <a:lnTo>
                      <a:pt x="602" y="293"/>
                    </a:lnTo>
                    <a:lnTo>
                      <a:pt x="606" y="295"/>
                    </a:lnTo>
                    <a:lnTo>
                      <a:pt x="609" y="297"/>
                    </a:lnTo>
                    <a:lnTo>
                      <a:pt x="613" y="297"/>
                    </a:lnTo>
                    <a:lnTo>
                      <a:pt x="619" y="302"/>
                    </a:lnTo>
                    <a:lnTo>
                      <a:pt x="621" y="305"/>
                    </a:lnTo>
                    <a:lnTo>
                      <a:pt x="626" y="307"/>
                    </a:lnTo>
                    <a:lnTo>
                      <a:pt x="633" y="308"/>
                    </a:lnTo>
                    <a:lnTo>
                      <a:pt x="636" y="312"/>
                    </a:lnTo>
                    <a:lnTo>
                      <a:pt x="640" y="314"/>
                    </a:lnTo>
                    <a:lnTo>
                      <a:pt x="645" y="317"/>
                    </a:lnTo>
                    <a:lnTo>
                      <a:pt x="650" y="320"/>
                    </a:lnTo>
                    <a:lnTo>
                      <a:pt x="653" y="324"/>
                    </a:lnTo>
                    <a:lnTo>
                      <a:pt x="659" y="329"/>
                    </a:lnTo>
                    <a:lnTo>
                      <a:pt x="662" y="332"/>
                    </a:lnTo>
                    <a:lnTo>
                      <a:pt x="664" y="336"/>
                    </a:lnTo>
                    <a:lnTo>
                      <a:pt x="667" y="337"/>
                    </a:lnTo>
                    <a:lnTo>
                      <a:pt x="672" y="339"/>
                    </a:lnTo>
                    <a:lnTo>
                      <a:pt x="677" y="342"/>
                    </a:lnTo>
                    <a:lnTo>
                      <a:pt x="682" y="346"/>
                    </a:lnTo>
                    <a:lnTo>
                      <a:pt x="687" y="349"/>
                    </a:lnTo>
                    <a:lnTo>
                      <a:pt x="693" y="353"/>
                    </a:lnTo>
                    <a:lnTo>
                      <a:pt x="698" y="356"/>
                    </a:lnTo>
                    <a:lnTo>
                      <a:pt x="704" y="361"/>
                    </a:lnTo>
                    <a:lnTo>
                      <a:pt x="708" y="363"/>
                    </a:lnTo>
                    <a:lnTo>
                      <a:pt x="715" y="364"/>
                    </a:lnTo>
                    <a:lnTo>
                      <a:pt x="722" y="366"/>
                    </a:lnTo>
                    <a:lnTo>
                      <a:pt x="725" y="368"/>
                    </a:lnTo>
                    <a:lnTo>
                      <a:pt x="728" y="370"/>
                    </a:lnTo>
                    <a:lnTo>
                      <a:pt x="733" y="371"/>
                    </a:lnTo>
                    <a:lnTo>
                      <a:pt x="739" y="371"/>
                    </a:lnTo>
                    <a:lnTo>
                      <a:pt x="744" y="373"/>
                    </a:lnTo>
                    <a:lnTo>
                      <a:pt x="749" y="373"/>
                    </a:lnTo>
                    <a:lnTo>
                      <a:pt x="752" y="375"/>
                    </a:lnTo>
                    <a:lnTo>
                      <a:pt x="756" y="375"/>
                    </a:lnTo>
                    <a:lnTo>
                      <a:pt x="764" y="378"/>
                    </a:lnTo>
                    <a:lnTo>
                      <a:pt x="769" y="380"/>
                    </a:lnTo>
                    <a:lnTo>
                      <a:pt x="774" y="383"/>
                    </a:lnTo>
                    <a:lnTo>
                      <a:pt x="783" y="388"/>
                    </a:lnTo>
                    <a:lnTo>
                      <a:pt x="790" y="392"/>
                    </a:lnTo>
                    <a:lnTo>
                      <a:pt x="795" y="395"/>
                    </a:lnTo>
                    <a:lnTo>
                      <a:pt x="800" y="397"/>
                    </a:lnTo>
                    <a:lnTo>
                      <a:pt x="803" y="398"/>
                    </a:lnTo>
                    <a:lnTo>
                      <a:pt x="808" y="398"/>
                    </a:lnTo>
                    <a:lnTo>
                      <a:pt x="817" y="400"/>
                    </a:lnTo>
                    <a:lnTo>
                      <a:pt x="820" y="400"/>
                    </a:lnTo>
                    <a:lnTo>
                      <a:pt x="825" y="400"/>
                    </a:lnTo>
                    <a:lnTo>
                      <a:pt x="830" y="398"/>
                    </a:lnTo>
                    <a:lnTo>
                      <a:pt x="832" y="403"/>
                    </a:lnTo>
                    <a:lnTo>
                      <a:pt x="837" y="405"/>
                    </a:lnTo>
                    <a:lnTo>
                      <a:pt x="842" y="403"/>
                    </a:lnTo>
                    <a:lnTo>
                      <a:pt x="846" y="403"/>
                    </a:lnTo>
                    <a:lnTo>
                      <a:pt x="839" y="405"/>
                    </a:lnTo>
                    <a:lnTo>
                      <a:pt x="834" y="410"/>
                    </a:lnTo>
                    <a:lnTo>
                      <a:pt x="830" y="412"/>
                    </a:lnTo>
                    <a:lnTo>
                      <a:pt x="834" y="412"/>
                    </a:lnTo>
                    <a:lnTo>
                      <a:pt x="837" y="410"/>
                    </a:lnTo>
                    <a:lnTo>
                      <a:pt x="844" y="410"/>
                    </a:lnTo>
                    <a:lnTo>
                      <a:pt x="847" y="409"/>
                    </a:lnTo>
                    <a:lnTo>
                      <a:pt x="851" y="412"/>
                    </a:lnTo>
                    <a:lnTo>
                      <a:pt x="852" y="415"/>
                    </a:lnTo>
                    <a:lnTo>
                      <a:pt x="854" y="420"/>
                    </a:lnTo>
                    <a:lnTo>
                      <a:pt x="858" y="424"/>
                    </a:lnTo>
                    <a:lnTo>
                      <a:pt x="861" y="429"/>
                    </a:lnTo>
                    <a:lnTo>
                      <a:pt x="859" y="434"/>
                    </a:lnTo>
                    <a:lnTo>
                      <a:pt x="861" y="437"/>
                    </a:lnTo>
                    <a:lnTo>
                      <a:pt x="864" y="441"/>
                    </a:lnTo>
                    <a:lnTo>
                      <a:pt x="868" y="444"/>
                    </a:lnTo>
                    <a:lnTo>
                      <a:pt x="871" y="446"/>
                    </a:lnTo>
                    <a:lnTo>
                      <a:pt x="873" y="449"/>
                    </a:lnTo>
                    <a:lnTo>
                      <a:pt x="878" y="453"/>
                    </a:lnTo>
                    <a:lnTo>
                      <a:pt x="883" y="456"/>
                    </a:lnTo>
                    <a:lnTo>
                      <a:pt x="890" y="461"/>
                    </a:lnTo>
                    <a:lnTo>
                      <a:pt x="895" y="463"/>
                    </a:lnTo>
                    <a:lnTo>
                      <a:pt x="898" y="463"/>
                    </a:lnTo>
                    <a:lnTo>
                      <a:pt x="902" y="466"/>
                    </a:lnTo>
                    <a:lnTo>
                      <a:pt x="907" y="466"/>
                    </a:lnTo>
                    <a:lnTo>
                      <a:pt x="910" y="468"/>
                    </a:lnTo>
                    <a:lnTo>
                      <a:pt x="915" y="471"/>
                    </a:lnTo>
                    <a:lnTo>
                      <a:pt x="919" y="475"/>
                    </a:lnTo>
                    <a:lnTo>
                      <a:pt x="922" y="478"/>
                    </a:lnTo>
                    <a:lnTo>
                      <a:pt x="927" y="481"/>
                    </a:lnTo>
                    <a:lnTo>
                      <a:pt x="931" y="485"/>
                    </a:lnTo>
                    <a:lnTo>
                      <a:pt x="936" y="488"/>
                    </a:lnTo>
                    <a:lnTo>
                      <a:pt x="939" y="492"/>
                    </a:lnTo>
                    <a:lnTo>
                      <a:pt x="939" y="495"/>
                    </a:lnTo>
                    <a:lnTo>
                      <a:pt x="943" y="498"/>
                    </a:lnTo>
                    <a:lnTo>
                      <a:pt x="951" y="502"/>
                    </a:lnTo>
                    <a:lnTo>
                      <a:pt x="956" y="507"/>
                    </a:lnTo>
                    <a:lnTo>
                      <a:pt x="960" y="512"/>
                    </a:lnTo>
                    <a:lnTo>
                      <a:pt x="963" y="515"/>
                    </a:lnTo>
                    <a:lnTo>
                      <a:pt x="966" y="519"/>
                    </a:lnTo>
                    <a:lnTo>
                      <a:pt x="973" y="522"/>
                    </a:lnTo>
                    <a:lnTo>
                      <a:pt x="977" y="526"/>
                    </a:lnTo>
                    <a:lnTo>
                      <a:pt x="977" y="529"/>
                    </a:lnTo>
                    <a:lnTo>
                      <a:pt x="980" y="532"/>
                    </a:lnTo>
                    <a:lnTo>
                      <a:pt x="982" y="536"/>
                    </a:lnTo>
                    <a:lnTo>
                      <a:pt x="985" y="539"/>
                    </a:lnTo>
                    <a:lnTo>
                      <a:pt x="987" y="543"/>
                    </a:lnTo>
                    <a:lnTo>
                      <a:pt x="987" y="548"/>
                    </a:lnTo>
                    <a:lnTo>
                      <a:pt x="987" y="551"/>
                    </a:lnTo>
                    <a:lnTo>
                      <a:pt x="989" y="556"/>
                    </a:lnTo>
                    <a:lnTo>
                      <a:pt x="994" y="559"/>
                    </a:lnTo>
                    <a:lnTo>
                      <a:pt x="994" y="565"/>
                    </a:lnTo>
                    <a:lnTo>
                      <a:pt x="997" y="568"/>
                    </a:lnTo>
                    <a:lnTo>
                      <a:pt x="1000" y="571"/>
                    </a:lnTo>
                    <a:lnTo>
                      <a:pt x="1006" y="575"/>
                    </a:lnTo>
                    <a:lnTo>
                      <a:pt x="1004" y="578"/>
                    </a:lnTo>
                    <a:lnTo>
                      <a:pt x="1006" y="582"/>
                    </a:lnTo>
                    <a:lnTo>
                      <a:pt x="1007" y="587"/>
                    </a:lnTo>
                    <a:lnTo>
                      <a:pt x="1000" y="592"/>
                    </a:lnTo>
                    <a:lnTo>
                      <a:pt x="1000" y="595"/>
                    </a:lnTo>
                    <a:lnTo>
                      <a:pt x="999" y="602"/>
                    </a:lnTo>
                    <a:lnTo>
                      <a:pt x="999" y="605"/>
                    </a:lnTo>
                    <a:lnTo>
                      <a:pt x="995" y="610"/>
                    </a:lnTo>
                    <a:lnTo>
                      <a:pt x="989" y="615"/>
                    </a:lnTo>
                    <a:lnTo>
                      <a:pt x="987" y="624"/>
                    </a:lnTo>
                    <a:lnTo>
                      <a:pt x="983" y="627"/>
                    </a:lnTo>
                    <a:lnTo>
                      <a:pt x="983" y="632"/>
                    </a:lnTo>
                    <a:lnTo>
                      <a:pt x="982" y="639"/>
                    </a:lnTo>
                    <a:lnTo>
                      <a:pt x="982" y="644"/>
                    </a:lnTo>
                    <a:lnTo>
                      <a:pt x="980" y="653"/>
                    </a:lnTo>
                    <a:lnTo>
                      <a:pt x="980" y="656"/>
                    </a:lnTo>
                    <a:lnTo>
                      <a:pt x="982" y="663"/>
                    </a:lnTo>
                    <a:lnTo>
                      <a:pt x="983" y="668"/>
                    </a:lnTo>
                    <a:lnTo>
                      <a:pt x="983" y="671"/>
                    </a:lnTo>
                    <a:lnTo>
                      <a:pt x="982" y="675"/>
                    </a:lnTo>
                    <a:lnTo>
                      <a:pt x="982" y="678"/>
                    </a:lnTo>
                    <a:lnTo>
                      <a:pt x="982" y="683"/>
                    </a:lnTo>
                    <a:lnTo>
                      <a:pt x="983" y="688"/>
                    </a:lnTo>
                    <a:lnTo>
                      <a:pt x="983" y="692"/>
                    </a:lnTo>
                    <a:lnTo>
                      <a:pt x="978" y="699"/>
                    </a:lnTo>
                    <a:lnTo>
                      <a:pt x="973" y="699"/>
                    </a:lnTo>
                    <a:lnTo>
                      <a:pt x="968" y="699"/>
                    </a:lnTo>
                    <a:lnTo>
                      <a:pt x="966" y="695"/>
                    </a:lnTo>
                    <a:lnTo>
                      <a:pt x="963" y="695"/>
                    </a:lnTo>
                    <a:lnTo>
                      <a:pt x="960" y="692"/>
                    </a:lnTo>
                    <a:lnTo>
                      <a:pt x="956" y="692"/>
                    </a:lnTo>
                    <a:lnTo>
                      <a:pt x="951" y="688"/>
                    </a:lnTo>
                    <a:lnTo>
                      <a:pt x="948" y="687"/>
                    </a:lnTo>
                    <a:lnTo>
                      <a:pt x="943" y="688"/>
                    </a:lnTo>
                    <a:lnTo>
                      <a:pt x="938" y="688"/>
                    </a:lnTo>
                    <a:lnTo>
                      <a:pt x="932" y="688"/>
                    </a:lnTo>
                    <a:lnTo>
                      <a:pt x="929" y="687"/>
                    </a:lnTo>
                    <a:lnTo>
                      <a:pt x="924" y="685"/>
                    </a:lnTo>
                    <a:lnTo>
                      <a:pt x="921" y="682"/>
                    </a:lnTo>
                    <a:lnTo>
                      <a:pt x="917" y="682"/>
                    </a:lnTo>
                    <a:lnTo>
                      <a:pt x="907" y="675"/>
                    </a:lnTo>
                    <a:lnTo>
                      <a:pt x="900" y="670"/>
                    </a:lnTo>
                    <a:lnTo>
                      <a:pt x="897" y="668"/>
                    </a:lnTo>
                    <a:lnTo>
                      <a:pt x="892" y="665"/>
                    </a:lnTo>
                    <a:lnTo>
                      <a:pt x="887" y="661"/>
                    </a:lnTo>
                    <a:lnTo>
                      <a:pt x="881" y="656"/>
                    </a:lnTo>
                    <a:lnTo>
                      <a:pt x="880" y="653"/>
                    </a:lnTo>
                    <a:lnTo>
                      <a:pt x="878" y="649"/>
                    </a:lnTo>
                    <a:lnTo>
                      <a:pt x="875" y="648"/>
                    </a:lnTo>
                    <a:lnTo>
                      <a:pt x="870" y="641"/>
                    </a:lnTo>
                    <a:lnTo>
                      <a:pt x="875" y="637"/>
                    </a:lnTo>
                    <a:lnTo>
                      <a:pt x="875" y="632"/>
                    </a:lnTo>
                    <a:lnTo>
                      <a:pt x="875" y="629"/>
                    </a:lnTo>
                    <a:lnTo>
                      <a:pt x="875" y="626"/>
                    </a:lnTo>
                    <a:lnTo>
                      <a:pt x="871" y="621"/>
                    </a:lnTo>
                    <a:lnTo>
                      <a:pt x="866" y="619"/>
                    </a:lnTo>
                    <a:lnTo>
                      <a:pt x="863" y="619"/>
                    </a:lnTo>
                    <a:lnTo>
                      <a:pt x="866" y="615"/>
                    </a:lnTo>
                    <a:lnTo>
                      <a:pt x="870" y="612"/>
                    </a:lnTo>
                    <a:lnTo>
                      <a:pt x="871" y="607"/>
                    </a:lnTo>
                    <a:lnTo>
                      <a:pt x="871" y="602"/>
                    </a:lnTo>
                    <a:lnTo>
                      <a:pt x="870" y="598"/>
                    </a:lnTo>
                    <a:lnTo>
                      <a:pt x="866" y="593"/>
                    </a:lnTo>
                    <a:lnTo>
                      <a:pt x="863" y="588"/>
                    </a:lnTo>
                    <a:lnTo>
                      <a:pt x="856" y="587"/>
                    </a:lnTo>
                    <a:lnTo>
                      <a:pt x="854" y="583"/>
                    </a:lnTo>
                    <a:lnTo>
                      <a:pt x="849" y="580"/>
                    </a:lnTo>
                    <a:lnTo>
                      <a:pt x="846" y="576"/>
                    </a:lnTo>
                    <a:lnTo>
                      <a:pt x="842" y="571"/>
                    </a:lnTo>
                    <a:lnTo>
                      <a:pt x="842" y="565"/>
                    </a:lnTo>
                    <a:lnTo>
                      <a:pt x="841" y="559"/>
                    </a:lnTo>
                    <a:lnTo>
                      <a:pt x="837" y="556"/>
                    </a:lnTo>
                    <a:lnTo>
                      <a:pt x="834" y="553"/>
                    </a:lnTo>
                    <a:lnTo>
                      <a:pt x="837" y="554"/>
                    </a:lnTo>
                    <a:lnTo>
                      <a:pt x="837" y="551"/>
                    </a:lnTo>
                    <a:lnTo>
                      <a:pt x="834" y="549"/>
                    </a:lnTo>
                    <a:lnTo>
                      <a:pt x="827" y="544"/>
                    </a:lnTo>
                    <a:lnTo>
                      <a:pt x="824" y="541"/>
                    </a:lnTo>
                    <a:lnTo>
                      <a:pt x="820" y="541"/>
                    </a:lnTo>
                    <a:lnTo>
                      <a:pt x="813" y="543"/>
                    </a:lnTo>
                    <a:lnTo>
                      <a:pt x="810" y="539"/>
                    </a:lnTo>
                    <a:lnTo>
                      <a:pt x="807" y="541"/>
                    </a:lnTo>
                    <a:lnTo>
                      <a:pt x="798" y="539"/>
                    </a:lnTo>
                    <a:lnTo>
                      <a:pt x="795" y="539"/>
                    </a:lnTo>
                    <a:lnTo>
                      <a:pt x="790" y="539"/>
                    </a:lnTo>
                    <a:lnTo>
                      <a:pt x="786" y="539"/>
                    </a:lnTo>
                    <a:lnTo>
                      <a:pt x="779" y="539"/>
                    </a:lnTo>
                    <a:lnTo>
                      <a:pt x="773" y="539"/>
                    </a:lnTo>
                    <a:lnTo>
                      <a:pt x="767" y="539"/>
                    </a:lnTo>
                    <a:lnTo>
                      <a:pt x="762" y="539"/>
                    </a:lnTo>
                    <a:lnTo>
                      <a:pt x="754" y="543"/>
                    </a:lnTo>
                    <a:lnTo>
                      <a:pt x="747" y="543"/>
                    </a:lnTo>
                    <a:lnTo>
                      <a:pt x="744" y="543"/>
                    </a:lnTo>
                    <a:lnTo>
                      <a:pt x="739" y="544"/>
                    </a:lnTo>
                    <a:lnTo>
                      <a:pt x="735" y="546"/>
                    </a:lnTo>
                    <a:lnTo>
                      <a:pt x="728" y="546"/>
                    </a:lnTo>
                    <a:lnTo>
                      <a:pt x="725" y="543"/>
                    </a:lnTo>
                    <a:lnTo>
                      <a:pt x="722" y="541"/>
                    </a:lnTo>
                    <a:lnTo>
                      <a:pt x="716" y="541"/>
                    </a:lnTo>
                    <a:lnTo>
                      <a:pt x="713" y="539"/>
                    </a:lnTo>
                    <a:lnTo>
                      <a:pt x="708" y="536"/>
                    </a:lnTo>
                    <a:lnTo>
                      <a:pt x="704" y="536"/>
                    </a:lnTo>
                    <a:lnTo>
                      <a:pt x="701" y="536"/>
                    </a:lnTo>
                    <a:lnTo>
                      <a:pt x="698" y="536"/>
                    </a:lnTo>
                    <a:lnTo>
                      <a:pt x="694" y="534"/>
                    </a:lnTo>
                    <a:lnTo>
                      <a:pt x="691" y="532"/>
                    </a:lnTo>
                    <a:lnTo>
                      <a:pt x="687" y="531"/>
                    </a:lnTo>
                    <a:lnTo>
                      <a:pt x="682" y="529"/>
                    </a:lnTo>
                    <a:lnTo>
                      <a:pt x="679" y="527"/>
                    </a:lnTo>
                    <a:lnTo>
                      <a:pt x="670" y="526"/>
                    </a:lnTo>
                    <a:lnTo>
                      <a:pt x="667" y="522"/>
                    </a:lnTo>
                    <a:lnTo>
                      <a:pt x="664" y="522"/>
                    </a:lnTo>
                    <a:lnTo>
                      <a:pt x="659" y="519"/>
                    </a:lnTo>
                    <a:lnTo>
                      <a:pt x="655" y="517"/>
                    </a:lnTo>
                    <a:lnTo>
                      <a:pt x="648" y="515"/>
                    </a:lnTo>
                    <a:lnTo>
                      <a:pt x="643" y="514"/>
                    </a:lnTo>
                    <a:lnTo>
                      <a:pt x="642" y="509"/>
                    </a:lnTo>
                    <a:lnTo>
                      <a:pt x="645" y="509"/>
                    </a:lnTo>
                    <a:lnTo>
                      <a:pt x="650" y="505"/>
                    </a:lnTo>
                    <a:lnTo>
                      <a:pt x="653" y="500"/>
                    </a:lnTo>
                    <a:lnTo>
                      <a:pt x="652" y="495"/>
                    </a:lnTo>
                    <a:lnTo>
                      <a:pt x="647" y="492"/>
                    </a:lnTo>
                    <a:lnTo>
                      <a:pt x="643" y="488"/>
                    </a:lnTo>
                    <a:lnTo>
                      <a:pt x="638" y="488"/>
                    </a:lnTo>
                    <a:lnTo>
                      <a:pt x="633" y="490"/>
                    </a:lnTo>
                    <a:lnTo>
                      <a:pt x="633" y="485"/>
                    </a:lnTo>
                    <a:lnTo>
                      <a:pt x="628" y="483"/>
                    </a:lnTo>
                    <a:lnTo>
                      <a:pt x="623" y="485"/>
                    </a:lnTo>
                    <a:lnTo>
                      <a:pt x="623" y="481"/>
                    </a:lnTo>
                    <a:lnTo>
                      <a:pt x="619" y="478"/>
                    </a:lnTo>
                    <a:lnTo>
                      <a:pt x="616" y="478"/>
                    </a:lnTo>
                    <a:lnTo>
                      <a:pt x="609" y="478"/>
                    </a:lnTo>
                    <a:lnTo>
                      <a:pt x="606" y="478"/>
                    </a:lnTo>
                    <a:lnTo>
                      <a:pt x="602" y="478"/>
                    </a:lnTo>
                    <a:lnTo>
                      <a:pt x="599" y="480"/>
                    </a:lnTo>
                    <a:lnTo>
                      <a:pt x="594" y="481"/>
                    </a:lnTo>
                    <a:lnTo>
                      <a:pt x="589" y="485"/>
                    </a:lnTo>
                    <a:lnTo>
                      <a:pt x="582" y="488"/>
                    </a:lnTo>
                    <a:lnTo>
                      <a:pt x="579" y="492"/>
                    </a:lnTo>
                    <a:lnTo>
                      <a:pt x="575" y="495"/>
                    </a:lnTo>
                    <a:lnTo>
                      <a:pt x="570" y="498"/>
                    </a:lnTo>
                    <a:lnTo>
                      <a:pt x="567" y="502"/>
                    </a:lnTo>
                    <a:lnTo>
                      <a:pt x="562" y="509"/>
                    </a:lnTo>
                    <a:lnTo>
                      <a:pt x="558" y="512"/>
                    </a:lnTo>
                    <a:lnTo>
                      <a:pt x="555" y="519"/>
                    </a:lnTo>
                    <a:lnTo>
                      <a:pt x="551" y="524"/>
                    </a:lnTo>
                    <a:lnTo>
                      <a:pt x="546" y="526"/>
                    </a:lnTo>
                    <a:lnTo>
                      <a:pt x="545" y="522"/>
                    </a:lnTo>
                    <a:lnTo>
                      <a:pt x="538" y="519"/>
                    </a:lnTo>
                    <a:lnTo>
                      <a:pt x="536" y="515"/>
                    </a:lnTo>
                    <a:lnTo>
                      <a:pt x="534" y="512"/>
                    </a:lnTo>
                    <a:lnTo>
                      <a:pt x="531" y="507"/>
                    </a:lnTo>
                    <a:lnTo>
                      <a:pt x="528" y="505"/>
                    </a:lnTo>
                    <a:lnTo>
                      <a:pt x="524" y="505"/>
                    </a:lnTo>
                    <a:lnTo>
                      <a:pt x="519" y="505"/>
                    </a:lnTo>
                    <a:lnTo>
                      <a:pt x="516" y="505"/>
                    </a:lnTo>
                    <a:lnTo>
                      <a:pt x="509" y="502"/>
                    </a:lnTo>
                    <a:lnTo>
                      <a:pt x="511" y="497"/>
                    </a:lnTo>
                    <a:lnTo>
                      <a:pt x="512" y="493"/>
                    </a:lnTo>
                    <a:lnTo>
                      <a:pt x="512" y="488"/>
                    </a:lnTo>
                    <a:lnTo>
                      <a:pt x="507" y="488"/>
                    </a:lnTo>
                    <a:lnTo>
                      <a:pt x="507" y="483"/>
                    </a:lnTo>
                    <a:lnTo>
                      <a:pt x="505" y="478"/>
                    </a:lnTo>
                    <a:lnTo>
                      <a:pt x="502" y="475"/>
                    </a:lnTo>
                    <a:lnTo>
                      <a:pt x="504" y="470"/>
                    </a:lnTo>
                    <a:lnTo>
                      <a:pt x="504" y="465"/>
                    </a:lnTo>
                    <a:lnTo>
                      <a:pt x="502" y="461"/>
                    </a:lnTo>
                    <a:lnTo>
                      <a:pt x="507" y="458"/>
                    </a:lnTo>
                    <a:lnTo>
                      <a:pt x="502" y="453"/>
                    </a:lnTo>
                    <a:lnTo>
                      <a:pt x="500" y="448"/>
                    </a:lnTo>
                    <a:lnTo>
                      <a:pt x="502" y="444"/>
                    </a:lnTo>
                    <a:lnTo>
                      <a:pt x="504" y="436"/>
                    </a:lnTo>
                    <a:lnTo>
                      <a:pt x="504" y="431"/>
                    </a:lnTo>
                    <a:lnTo>
                      <a:pt x="504" y="427"/>
                    </a:lnTo>
                    <a:lnTo>
                      <a:pt x="495" y="424"/>
                    </a:lnTo>
                    <a:lnTo>
                      <a:pt x="497" y="420"/>
                    </a:lnTo>
                    <a:lnTo>
                      <a:pt x="500" y="420"/>
                    </a:lnTo>
                    <a:lnTo>
                      <a:pt x="499" y="417"/>
                    </a:lnTo>
                    <a:lnTo>
                      <a:pt x="492" y="414"/>
                    </a:lnTo>
                    <a:lnTo>
                      <a:pt x="488" y="410"/>
                    </a:lnTo>
                    <a:lnTo>
                      <a:pt x="485" y="407"/>
                    </a:lnTo>
                    <a:lnTo>
                      <a:pt x="485" y="412"/>
                    </a:lnTo>
                    <a:lnTo>
                      <a:pt x="480" y="409"/>
                    </a:lnTo>
                    <a:lnTo>
                      <a:pt x="473" y="407"/>
                    </a:lnTo>
                    <a:lnTo>
                      <a:pt x="466" y="407"/>
                    </a:lnTo>
                    <a:lnTo>
                      <a:pt x="463" y="405"/>
                    </a:lnTo>
                    <a:lnTo>
                      <a:pt x="460" y="407"/>
                    </a:lnTo>
                    <a:lnTo>
                      <a:pt x="460" y="410"/>
                    </a:lnTo>
                    <a:lnTo>
                      <a:pt x="461" y="414"/>
                    </a:lnTo>
                    <a:lnTo>
                      <a:pt x="458" y="412"/>
                    </a:lnTo>
                    <a:lnTo>
                      <a:pt x="456" y="409"/>
                    </a:lnTo>
                    <a:lnTo>
                      <a:pt x="453" y="407"/>
                    </a:lnTo>
                    <a:lnTo>
                      <a:pt x="449" y="412"/>
                    </a:lnTo>
                    <a:lnTo>
                      <a:pt x="453" y="419"/>
                    </a:lnTo>
                    <a:lnTo>
                      <a:pt x="448" y="415"/>
                    </a:lnTo>
                    <a:lnTo>
                      <a:pt x="448" y="412"/>
                    </a:lnTo>
                    <a:lnTo>
                      <a:pt x="443" y="410"/>
                    </a:lnTo>
                    <a:lnTo>
                      <a:pt x="439" y="409"/>
                    </a:lnTo>
                    <a:lnTo>
                      <a:pt x="437" y="414"/>
                    </a:lnTo>
                    <a:lnTo>
                      <a:pt x="432" y="420"/>
                    </a:lnTo>
                    <a:lnTo>
                      <a:pt x="427" y="425"/>
                    </a:lnTo>
                    <a:lnTo>
                      <a:pt x="420" y="431"/>
                    </a:lnTo>
                    <a:lnTo>
                      <a:pt x="415" y="429"/>
                    </a:lnTo>
                    <a:lnTo>
                      <a:pt x="412" y="420"/>
                    </a:lnTo>
                    <a:lnTo>
                      <a:pt x="407" y="417"/>
                    </a:lnTo>
                    <a:lnTo>
                      <a:pt x="402" y="415"/>
                    </a:lnTo>
                    <a:lnTo>
                      <a:pt x="395" y="409"/>
                    </a:lnTo>
                    <a:lnTo>
                      <a:pt x="391" y="405"/>
                    </a:lnTo>
                    <a:lnTo>
                      <a:pt x="386" y="400"/>
                    </a:lnTo>
                    <a:lnTo>
                      <a:pt x="383" y="398"/>
                    </a:lnTo>
                    <a:lnTo>
                      <a:pt x="378" y="397"/>
                    </a:lnTo>
                    <a:lnTo>
                      <a:pt x="374" y="392"/>
                    </a:lnTo>
                    <a:lnTo>
                      <a:pt x="371" y="386"/>
                    </a:lnTo>
                    <a:lnTo>
                      <a:pt x="368" y="383"/>
                    </a:lnTo>
                    <a:lnTo>
                      <a:pt x="364" y="376"/>
                    </a:lnTo>
                    <a:lnTo>
                      <a:pt x="364" y="373"/>
                    </a:lnTo>
                    <a:lnTo>
                      <a:pt x="363" y="370"/>
                    </a:lnTo>
                    <a:lnTo>
                      <a:pt x="361" y="364"/>
                    </a:lnTo>
                    <a:lnTo>
                      <a:pt x="357" y="359"/>
                    </a:lnTo>
                    <a:lnTo>
                      <a:pt x="354" y="358"/>
                    </a:lnTo>
                    <a:lnTo>
                      <a:pt x="351" y="358"/>
                    </a:lnTo>
                    <a:lnTo>
                      <a:pt x="346" y="356"/>
                    </a:lnTo>
                    <a:lnTo>
                      <a:pt x="342" y="358"/>
                    </a:lnTo>
                    <a:lnTo>
                      <a:pt x="339" y="361"/>
                    </a:lnTo>
                    <a:lnTo>
                      <a:pt x="337" y="366"/>
                    </a:lnTo>
                    <a:lnTo>
                      <a:pt x="330" y="363"/>
                    </a:lnTo>
                    <a:lnTo>
                      <a:pt x="323" y="359"/>
                    </a:lnTo>
                    <a:lnTo>
                      <a:pt x="320" y="359"/>
                    </a:lnTo>
                    <a:lnTo>
                      <a:pt x="315" y="356"/>
                    </a:lnTo>
                    <a:lnTo>
                      <a:pt x="312" y="354"/>
                    </a:lnTo>
                    <a:lnTo>
                      <a:pt x="306" y="353"/>
                    </a:lnTo>
                    <a:lnTo>
                      <a:pt x="303" y="353"/>
                    </a:lnTo>
                    <a:lnTo>
                      <a:pt x="296" y="351"/>
                    </a:lnTo>
                    <a:lnTo>
                      <a:pt x="293" y="344"/>
                    </a:lnTo>
                    <a:lnTo>
                      <a:pt x="300" y="346"/>
                    </a:lnTo>
                    <a:lnTo>
                      <a:pt x="303" y="344"/>
                    </a:lnTo>
                    <a:lnTo>
                      <a:pt x="305" y="339"/>
                    </a:lnTo>
                    <a:lnTo>
                      <a:pt x="308" y="334"/>
                    </a:lnTo>
                    <a:lnTo>
                      <a:pt x="306" y="331"/>
                    </a:lnTo>
                    <a:lnTo>
                      <a:pt x="306" y="325"/>
                    </a:lnTo>
                    <a:lnTo>
                      <a:pt x="310" y="322"/>
                    </a:lnTo>
                    <a:lnTo>
                      <a:pt x="305" y="315"/>
                    </a:lnTo>
                    <a:lnTo>
                      <a:pt x="300" y="314"/>
                    </a:lnTo>
                    <a:lnTo>
                      <a:pt x="296" y="312"/>
                    </a:lnTo>
                    <a:lnTo>
                      <a:pt x="293" y="307"/>
                    </a:lnTo>
                    <a:lnTo>
                      <a:pt x="293" y="303"/>
                    </a:lnTo>
                    <a:lnTo>
                      <a:pt x="286" y="302"/>
                    </a:lnTo>
                    <a:lnTo>
                      <a:pt x="286" y="298"/>
                    </a:lnTo>
                    <a:lnTo>
                      <a:pt x="281" y="295"/>
                    </a:lnTo>
                    <a:lnTo>
                      <a:pt x="276" y="297"/>
                    </a:lnTo>
                    <a:lnTo>
                      <a:pt x="271" y="293"/>
                    </a:lnTo>
                    <a:lnTo>
                      <a:pt x="267" y="293"/>
                    </a:lnTo>
                    <a:lnTo>
                      <a:pt x="266" y="290"/>
                    </a:lnTo>
                    <a:lnTo>
                      <a:pt x="260" y="288"/>
                    </a:lnTo>
                    <a:lnTo>
                      <a:pt x="255" y="293"/>
                    </a:lnTo>
                    <a:lnTo>
                      <a:pt x="252" y="292"/>
                    </a:lnTo>
                    <a:lnTo>
                      <a:pt x="249" y="297"/>
                    </a:lnTo>
                    <a:lnTo>
                      <a:pt x="245" y="298"/>
                    </a:lnTo>
                    <a:lnTo>
                      <a:pt x="245" y="302"/>
                    </a:lnTo>
                    <a:lnTo>
                      <a:pt x="243" y="307"/>
                    </a:lnTo>
                    <a:lnTo>
                      <a:pt x="238" y="307"/>
                    </a:lnTo>
                    <a:lnTo>
                      <a:pt x="235" y="310"/>
                    </a:lnTo>
                    <a:lnTo>
                      <a:pt x="232" y="305"/>
                    </a:lnTo>
                    <a:lnTo>
                      <a:pt x="226" y="305"/>
                    </a:lnTo>
                    <a:lnTo>
                      <a:pt x="221" y="308"/>
                    </a:lnTo>
                    <a:lnTo>
                      <a:pt x="213" y="310"/>
                    </a:lnTo>
                    <a:lnTo>
                      <a:pt x="203" y="310"/>
                    </a:lnTo>
                    <a:lnTo>
                      <a:pt x="198" y="308"/>
                    </a:lnTo>
                    <a:lnTo>
                      <a:pt x="194" y="307"/>
                    </a:lnTo>
                    <a:lnTo>
                      <a:pt x="191" y="308"/>
                    </a:lnTo>
                    <a:lnTo>
                      <a:pt x="187" y="308"/>
                    </a:lnTo>
                    <a:lnTo>
                      <a:pt x="184" y="310"/>
                    </a:lnTo>
                    <a:lnTo>
                      <a:pt x="181" y="312"/>
                    </a:lnTo>
                    <a:lnTo>
                      <a:pt x="179" y="315"/>
                    </a:lnTo>
                    <a:lnTo>
                      <a:pt x="175" y="319"/>
                    </a:lnTo>
                    <a:lnTo>
                      <a:pt x="177" y="322"/>
                    </a:lnTo>
                    <a:lnTo>
                      <a:pt x="172" y="324"/>
                    </a:lnTo>
                    <a:lnTo>
                      <a:pt x="165" y="322"/>
                    </a:lnTo>
                    <a:lnTo>
                      <a:pt x="160" y="320"/>
                    </a:lnTo>
                    <a:lnTo>
                      <a:pt x="157" y="319"/>
                    </a:lnTo>
                    <a:lnTo>
                      <a:pt x="152" y="319"/>
                    </a:lnTo>
                    <a:lnTo>
                      <a:pt x="147" y="315"/>
                    </a:lnTo>
                    <a:lnTo>
                      <a:pt x="141" y="312"/>
                    </a:lnTo>
                    <a:lnTo>
                      <a:pt x="136" y="308"/>
                    </a:lnTo>
                    <a:lnTo>
                      <a:pt x="133" y="314"/>
                    </a:lnTo>
                    <a:lnTo>
                      <a:pt x="129" y="317"/>
                    </a:lnTo>
                    <a:lnTo>
                      <a:pt x="126" y="315"/>
                    </a:lnTo>
                    <a:lnTo>
                      <a:pt x="123" y="314"/>
                    </a:lnTo>
                    <a:lnTo>
                      <a:pt x="119" y="314"/>
                    </a:lnTo>
                    <a:lnTo>
                      <a:pt x="116" y="314"/>
                    </a:lnTo>
                    <a:lnTo>
                      <a:pt x="109" y="315"/>
                    </a:lnTo>
                    <a:lnTo>
                      <a:pt x="106" y="315"/>
                    </a:lnTo>
                    <a:lnTo>
                      <a:pt x="101" y="312"/>
                    </a:lnTo>
                    <a:lnTo>
                      <a:pt x="99" y="308"/>
                    </a:lnTo>
                    <a:lnTo>
                      <a:pt x="92" y="300"/>
                    </a:lnTo>
                    <a:lnTo>
                      <a:pt x="89" y="300"/>
                    </a:lnTo>
                    <a:lnTo>
                      <a:pt x="85" y="297"/>
                    </a:lnTo>
                    <a:lnTo>
                      <a:pt x="85" y="292"/>
                    </a:lnTo>
                    <a:lnTo>
                      <a:pt x="87" y="288"/>
                    </a:lnTo>
                    <a:lnTo>
                      <a:pt x="94" y="281"/>
                    </a:lnTo>
                    <a:lnTo>
                      <a:pt x="97" y="280"/>
                    </a:lnTo>
                    <a:lnTo>
                      <a:pt x="94" y="275"/>
                    </a:lnTo>
                    <a:lnTo>
                      <a:pt x="92" y="269"/>
                    </a:lnTo>
                    <a:lnTo>
                      <a:pt x="94" y="266"/>
                    </a:lnTo>
                    <a:lnTo>
                      <a:pt x="99" y="264"/>
                    </a:lnTo>
                    <a:lnTo>
                      <a:pt x="99" y="261"/>
                    </a:lnTo>
                    <a:lnTo>
                      <a:pt x="95" y="258"/>
                    </a:lnTo>
                    <a:lnTo>
                      <a:pt x="92" y="254"/>
                    </a:lnTo>
                    <a:lnTo>
                      <a:pt x="89" y="254"/>
                    </a:lnTo>
                    <a:lnTo>
                      <a:pt x="85" y="258"/>
                    </a:lnTo>
                    <a:lnTo>
                      <a:pt x="84" y="254"/>
                    </a:lnTo>
                    <a:lnTo>
                      <a:pt x="78" y="253"/>
                    </a:lnTo>
                    <a:lnTo>
                      <a:pt x="75" y="251"/>
                    </a:lnTo>
                    <a:lnTo>
                      <a:pt x="70" y="251"/>
                    </a:lnTo>
                    <a:lnTo>
                      <a:pt x="65" y="253"/>
                    </a:lnTo>
                    <a:lnTo>
                      <a:pt x="61" y="251"/>
                    </a:lnTo>
                    <a:lnTo>
                      <a:pt x="61" y="247"/>
                    </a:lnTo>
                    <a:lnTo>
                      <a:pt x="58" y="244"/>
                    </a:lnTo>
                    <a:lnTo>
                      <a:pt x="60" y="241"/>
                    </a:lnTo>
                    <a:lnTo>
                      <a:pt x="55" y="241"/>
                    </a:lnTo>
                    <a:lnTo>
                      <a:pt x="51" y="237"/>
                    </a:lnTo>
                    <a:lnTo>
                      <a:pt x="48" y="237"/>
                    </a:lnTo>
                    <a:lnTo>
                      <a:pt x="44" y="236"/>
                    </a:lnTo>
                    <a:lnTo>
                      <a:pt x="41" y="232"/>
                    </a:lnTo>
                    <a:lnTo>
                      <a:pt x="41" y="229"/>
                    </a:lnTo>
                    <a:lnTo>
                      <a:pt x="39" y="224"/>
                    </a:lnTo>
                    <a:lnTo>
                      <a:pt x="43" y="220"/>
                    </a:lnTo>
                    <a:lnTo>
                      <a:pt x="44" y="217"/>
                    </a:lnTo>
                    <a:lnTo>
                      <a:pt x="50" y="215"/>
                    </a:lnTo>
                    <a:lnTo>
                      <a:pt x="46" y="212"/>
                    </a:lnTo>
                    <a:lnTo>
                      <a:pt x="46" y="207"/>
                    </a:lnTo>
                    <a:lnTo>
                      <a:pt x="50" y="203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1" y="200"/>
                    </a:lnTo>
                    <a:lnTo>
                      <a:pt x="36" y="197"/>
                    </a:lnTo>
                    <a:lnTo>
                      <a:pt x="33" y="197"/>
                    </a:lnTo>
                    <a:lnTo>
                      <a:pt x="29" y="193"/>
                    </a:lnTo>
                    <a:lnTo>
                      <a:pt x="27" y="190"/>
                    </a:lnTo>
                    <a:lnTo>
                      <a:pt x="26" y="185"/>
                    </a:lnTo>
                    <a:lnTo>
                      <a:pt x="22" y="183"/>
                    </a:lnTo>
                    <a:lnTo>
                      <a:pt x="17" y="180"/>
                    </a:lnTo>
                    <a:lnTo>
                      <a:pt x="12" y="174"/>
                    </a:lnTo>
                    <a:lnTo>
                      <a:pt x="9" y="173"/>
                    </a:lnTo>
                    <a:lnTo>
                      <a:pt x="5" y="171"/>
                    </a:lnTo>
                    <a:lnTo>
                      <a:pt x="4" y="166"/>
                    </a:lnTo>
                    <a:lnTo>
                      <a:pt x="4" y="163"/>
                    </a:lnTo>
                    <a:lnTo>
                      <a:pt x="4" y="159"/>
                    </a:lnTo>
                    <a:lnTo>
                      <a:pt x="5" y="152"/>
                    </a:lnTo>
                    <a:lnTo>
                      <a:pt x="4" y="149"/>
                    </a:lnTo>
                    <a:lnTo>
                      <a:pt x="5" y="146"/>
                    </a:lnTo>
                    <a:lnTo>
                      <a:pt x="4" y="142"/>
                    </a:lnTo>
                    <a:lnTo>
                      <a:pt x="0" y="139"/>
                    </a:lnTo>
                    <a:lnTo>
                      <a:pt x="4" y="134"/>
                    </a:lnTo>
                    <a:lnTo>
                      <a:pt x="5" y="129"/>
                    </a:lnTo>
                    <a:lnTo>
                      <a:pt x="9" y="129"/>
                    </a:lnTo>
                    <a:lnTo>
                      <a:pt x="12" y="129"/>
                    </a:lnTo>
                    <a:lnTo>
                      <a:pt x="16" y="134"/>
                    </a:lnTo>
                    <a:lnTo>
                      <a:pt x="19" y="135"/>
                    </a:lnTo>
                    <a:lnTo>
                      <a:pt x="24" y="135"/>
                    </a:lnTo>
                    <a:lnTo>
                      <a:pt x="24" y="130"/>
                    </a:lnTo>
                    <a:lnTo>
                      <a:pt x="27" y="129"/>
                    </a:lnTo>
                    <a:lnTo>
                      <a:pt x="29" y="125"/>
                    </a:lnTo>
                    <a:lnTo>
                      <a:pt x="31" y="122"/>
                    </a:lnTo>
                    <a:lnTo>
                      <a:pt x="34" y="120"/>
                    </a:lnTo>
                    <a:lnTo>
                      <a:pt x="39" y="117"/>
                    </a:lnTo>
                    <a:lnTo>
                      <a:pt x="39" y="113"/>
                    </a:lnTo>
                    <a:lnTo>
                      <a:pt x="43" y="115"/>
                    </a:lnTo>
                    <a:lnTo>
                      <a:pt x="43" y="112"/>
                    </a:lnTo>
                    <a:lnTo>
                      <a:pt x="46" y="108"/>
                    </a:lnTo>
                    <a:lnTo>
                      <a:pt x="51" y="107"/>
                    </a:lnTo>
                    <a:lnTo>
                      <a:pt x="56" y="103"/>
                    </a:lnTo>
                    <a:lnTo>
                      <a:pt x="51" y="100"/>
                    </a:lnTo>
                    <a:lnTo>
                      <a:pt x="48" y="98"/>
                    </a:lnTo>
                    <a:lnTo>
                      <a:pt x="44" y="95"/>
                    </a:lnTo>
                    <a:lnTo>
                      <a:pt x="41" y="91"/>
                    </a:lnTo>
                    <a:lnTo>
                      <a:pt x="44" y="88"/>
                    </a:lnTo>
                    <a:lnTo>
                      <a:pt x="39" y="83"/>
                    </a:lnTo>
                    <a:lnTo>
                      <a:pt x="41" y="78"/>
                    </a:lnTo>
                    <a:lnTo>
                      <a:pt x="44" y="71"/>
                    </a:lnTo>
                    <a:lnTo>
                      <a:pt x="43" y="68"/>
                    </a:lnTo>
                    <a:lnTo>
                      <a:pt x="41" y="64"/>
                    </a:lnTo>
                    <a:lnTo>
                      <a:pt x="39" y="61"/>
                    </a:lnTo>
                    <a:lnTo>
                      <a:pt x="39" y="54"/>
                    </a:lnTo>
                    <a:lnTo>
                      <a:pt x="43" y="51"/>
                    </a:lnTo>
                    <a:lnTo>
                      <a:pt x="44" y="47"/>
                    </a:lnTo>
                    <a:lnTo>
                      <a:pt x="46" y="44"/>
                    </a:lnTo>
                    <a:lnTo>
                      <a:pt x="48" y="39"/>
                    </a:lnTo>
                    <a:lnTo>
                      <a:pt x="44" y="35"/>
                    </a:lnTo>
                    <a:lnTo>
                      <a:pt x="46" y="30"/>
                    </a:lnTo>
                    <a:lnTo>
                      <a:pt x="46" y="27"/>
                    </a:lnTo>
                    <a:lnTo>
                      <a:pt x="53" y="27"/>
                    </a:lnTo>
                    <a:lnTo>
                      <a:pt x="60" y="27"/>
                    </a:lnTo>
                    <a:lnTo>
                      <a:pt x="65" y="27"/>
                    </a:lnTo>
                    <a:lnTo>
                      <a:pt x="70" y="27"/>
                    </a:lnTo>
                    <a:lnTo>
                      <a:pt x="80" y="25"/>
                    </a:lnTo>
                    <a:lnTo>
                      <a:pt x="85" y="25"/>
                    </a:lnTo>
                    <a:lnTo>
                      <a:pt x="90" y="25"/>
                    </a:lnTo>
                    <a:lnTo>
                      <a:pt x="95" y="25"/>
                    </a:lnTo>
                    <a:lnTo>
                      <a:pt x="101" y="27"/>
                    </a:lnTo>
                    <a:lnTo>
                      <a:pt x="106" y="30"/>
                    </a:lnTo>
                    <a:lnTo>
                      <a:pt x="109" y="30"/>
                    </a:lnTo>
                    <a:lnTo>
                      <a:pt x="114" y="30"/>
                    </a:lnTo>
                    <a:lnTo>
                      <a:pt x="118" y="30"/>
                    </a:lnTo>
                    <a:lnTo>
                      <a:pt x="121" y="30"/>
                    </a:lnTo>
                    <a:lnTo>
                      <a:pt x="128" y="29"/>
                    </a:lnTo>
                    <a:lnTo>
                      <a:pt x="133" y="27"/>
                    </a:lnTo>
                    <a:lnTo>
                      <a:pt x="138" y="27"/>
                    </a:lnTo>
                    <a:lnTo>
                      <a:pt x="143" y="25"/>
                    </a:lnTo>
                    <a:lnTo>
                      <a:pt x="148" y="24"/>
                    </a:lnTo>
                    <a:lnTo>
                      <a:pt x="153" y="22"/>
                    </a:lnTo>
                    <a:lnTo>
                      <a:pt x="162" y="20"/>
                    </a:lnTo>
                    <a:lnTo>
                      <a:pt x="165" y="18"/>
                    </a:lnTo>
                    <a:lnTo>
                      <a:pt x="170" y="17"/>
                    </a:lnTo>
                    <a:lnTo>
                      <a:pt x="174" y="17"/>
                    </a:lnTo>
                    <a:lnTo>
                      <a:pt x="177" y="17"/>
                    </a:lnTo>
                    <a:lnTo>
                      <a:pt x="182" y="17"/>
                    </a:lnTo>
                    <a:lnTo>
                      <a:pt x="187" y="18"/>
                    </a:lnTo>
                    <a:lnTo>
                      <a:pt x="191" y="20"/>
                    </a:lnTo>
                    <a:lnTo>
                      <a:pt x="194" y="18"/>
                    </a:lnTo>
                    <a:lnTo>
                      <a:pt x="199" y="18"/>
                    </a:lnTo>
                    <a:lnTo>
                      <a:pt x="203" y="18"/>
                    </a:lnTo>
                    <a:lnTo>
                      <a:pt x="211" y="17"/>
                    </a:lnTo>
                    <a:lnTo>
                      <a:pt x="215" y="17"/>
                    </a:lnTo>
                    <a:lnTo>
                      <a:pt x="221" y="15"/>
                    </a:lnTo>
                    <a:lnTo>
                      <a:pt x="225" y="13"/>
                    </a:lnTo>
                    <a:lnTo>
                      <a:pt x="235" y="12"/>
                    </a:lnTo>
                    <a:lnTo>
                      <a:pt x="240" y="10"/>
                    </a:lnTo>
                    <a:lnTo>
                      <a:pt x="245" y="10"/>
                    </a:lnTo>
                    <a:lnTo>
                      <a:pt x="252" y="8"/>
                    </a:lnTo>
                    <a:lnTo>
                      <a:pt x="262" y="5"/>
                    </a:lnTo>
                    <a:lnTo>
                      <a:pt x="267" y="3"/>
                    </a:lnTo>
                    <a:lnTo>
                      <a:pt x="271" y="2"/>
                    </a:lnTo>
                    <a:lnTo>
                      <a:pt x="276" y="0"/>
                    </a:lnTo>
                    <a:lnTo>
                      <a:pt x="279" y="2"/>
                    </a:lnTo>
                    <a:lnTo>
                      <a:pt x="283" y="2"/>
                    </a:lnTo>
                    <a:lnTo>
                      <a:pt x="288" y="0"/>
                    </a:lnTo>
                    <a:lnTo>
                      <a:pt x="293" y="2"/>
                    </a:lnTo>
                    <a:lnTo>
                      <a:pt x="296" y="3"/>
                    </a:lnTo>
                    <a:lnTo>
                      <a:pt x="300" y="7"/>
                    </a:lnTo>
                    <a:lnTo>
                      <a:pt x="305" y="10"/>
                    </a:lnTo>
                    <a:lnTo>
                      <a:pt x="308" y="10"/>
                    </a:lnTo>
                    <a:lnTo>
                      <a:pt x="313" y="10"/>
                    </a:lnTo>
                    <a:lnTo>
                      <a:pt x="315" y="15"/>
                    </a:lnTo>
                    <a:lnTo>
                      <a:pt x="318" y="18"/>
                    </a:lnTo>
                    <a:lnTo>
                      <a:pt x="322" y="25"/>
                    </a:lnTo>
                    <a:lnTo>
                      <a:pt x="322" y="29"/>
                    </a:lnTo>
                    <a:lnTo>
                      <a:pt x="323" y="32"/>
                    </a:lnTo>
                    <a:lnTo>
                      <a:pt x="327" y="37"/>
                    </a:lnTo>
                    <a:lnTo>
                      <a:pt x="329" y="41"/>
                    </a:lnTo>
                    <a:lnTo>
                      <a:pt x="327" y="46"/>
                    </a:lnTo>
                    <a:lnTo>
                      <a:pt x="329" y="51"/>
                    </a:lnTo>
                    <a:lnTo>
                      <a:pt x="329" y="54"/>
                    </a:lnTo>
                    <a:lnTo>
                      <a:pt x="327" y="59"/>
                    </a:lnTo>
                    <a:lnTo>
                      <a:pt x="322" y="61"/>
                    </a:lnTo>
                    <a:lnTo>
                      <a:pt x="322" y="64"/>
                    </a:lnTo>
                    <a:lnTo>
                      <a:pt x="318" y="68"/>
                    </a:lnTo>
                    <a:lnTo>
                      <a:pt x="315" y="71"/>
                    </a:lnTo>
                    <a:lnTo>
                      <a:pt x="306" y="74"/>
                    </a:lnTo>
                    <a:lnTo>
                      <a:pt x="303" y="81"/>
                    </a:lnTo>
                    <a:lnTo>
                      <a:pt x="300" y="83"/>
                    </a:lnTo>
                    <a:lnTo>
                      <a:pt x="298" y="86"/>
                    </a:lnTo>
                    <a:lnTo>
                      <a:pt x="291" y="93"/>
                    </a:lnTo>
                    <a:lnTo>
                      <a:pt x="288" y="95"/>
                    </a:lnTo>
                    <a:lnTo>
                      <a:pt x="284" y="98"/>
                    </a:lnTo>
                    <a:lnTo>
                      <a:pt x="279" y="102"/>
                    </a:lnTo>
                    <a:lnTo>
                      <a:pt x="276" y="103"/>
                    </a:lnTo>
                    <a:lnTo>
                      <a:pt x="272" y="107"/>
                    </a:lnTo>
                    <a:lnTo>
                      <a:pt x="267" y="108"/>
                    </a:lnTo>
                    <a:lnTo>
                      <a:pt x="264" y="112"/>
                    </a:lnTo>
                    <a:lnTo>
                      <a:pt x="259" y="117"/>
                    </a:lnTo>
                    <a:lnTo>
                      <a:pt x="255" y="120"/>
                    </a:lnTo>
                    <a:lnTo>
                      <a:pt x="255" y="124"/>
                    </a:lnTo>
                    <a:lnTo>
                      <a:pt x="255" y="129"/>
                    </a:lnTo>
                    <a:lnTo>
                      <a:pt x="255" y="134"/>
                    </a:lnTo>
                    <a:lnTo>
                      <a:pt x="255" y="139"/>
                    </a:lnTo>
                    <a:lnTo>
                      <a:pt x="257" y="142"/>
                    </a:lnTo>
                    <a:lnTo>
                      <a:pt x="259" y="146"/>
                    </a:lnTo>
                    <a:lnTo>
                      <a:pt x="264" y="159"/>
                    </a:lnTo>
                    <a:lnTo>
                      <a:pt x="266" y="163"/>
                    </a:lnTo>
                    <a:lnTo>
                      <a:pt x="269" y="166"/>
                    </a:lnTo>
                    <a:lnTo>
                      <a:pt x="272" y="169"/>
                    </a:lnTo>
                    <a:lnTo>
                      <a:pt x="276" y="174"/>
                    </a:lnTo>
                    <a:lnTo>
                      <a:pt x="283" y="178"/>
                    </a:lnTo>
                    <a:lnTo>
                      <a:pt x="286" y="180"/>
                    </a:lnTo>
                    <a:lnTo>
                      <a:pt x="293" y="183"/>
                    </a:lnTo>
                    <a:lnTo>
                      <a:pt x="296" y="185"/>
                    </a:lnTo>
                    <a:lnTo>
                      <a:pt x="300" y="186"/>
                    </a:lnTo>
                    <a:lnTo>
                      <a:pt x="306" y="188"/>
                    </a:lnTo>
                    <a:lnTo>
                      <a:pt x="310" y="190"/>
                    </a:lnTo>
                    <a:lnTo>
                      <a:pt x="315" y="191"/>
                    </a:lnTo>
                    <a:lnTo>
                      <a:pt x="320" y="193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0" name="Line 97">
                <a:extLst>
                  <a:ext uri="{FF2B5EF4-FFF2-40B4-BE49-F238E27FC236}">
                    <a16:creationId xmlns:a16="http://schemas.microsoft.com/office/drawing/2014/main" id="{C773AADB-E8FF-F507-F13E-51AEC11C3C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23350" y="4071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1" name="Line 98">
                <a:extLst>
                  <a:ext uri="{FF2B5EF4-FFF2-40B4-BE49-F238E27FC236}">
                    <a16:creationId xmlns:a16="http://schemas.microsoft.com/office/drawing/2014/main" id="{AFA9D3C8-5B92-9CDD-15DB-9CD3B26C46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80438" y="32797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2" name="Line 99">
                <a:extLst>
                  <a:ext uri="{FF2B5EF4-FFF2-40B4-BE49-F238E27FC236}">
                    <a16:creationId xmlns:a16="http://schemas.microsoft.com/office/drawing/2014/main" id="{55FB55E1-16F2-B140-4854-636CBDD7C4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66163" y="45434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3" name="Line 100">
                <a:extLst>
                  <a:ext uri="{FF2B5EF4-FFF2-40B4-BE49-F238E27FC236}">
                    <a16:creationId xmlns:a16="http://schemas.microsoft.com/office/drawing/2014/main" id="{10C849F5-B155-2555-286B-E36FD4C567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24938" y="40687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4" name="Freeform 101">
                <a:extLst>
                  <a:ext uri="{FF2B5EF4-FFF2-40B4-BE49-F238E27FC236}">
                    <a16:creationId xmlns:a16="http://schemas.microsoft.com/office/drawing/2014/main" id="{A98950A9-79EA-E687-B89B-A671546A4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9313" y="3883025"/>
                <a:ext cx="666750" cy="687387"/>
              </a:xfrm>
              <a:custGeom>
                <a:avLst/>
                <a:gdLst>
                  <a:gd name="T0" fmla="*/ 326 w 420"/>
                  <a:gd name="T1" fmla="*/ 119 h 433"/>
                  <a:gd name="T2" fmla="*/ 338 w 420"/>
                  <a:gd name="T3" fmla="*/ 119 h 433"/>
                  <a:gd name="T4" fmla="*/ 367 w 420"/>
                  <a:gd name="T5" fmla="*/ 127 h 433"/>
                  <a:gd name="T6" fmla="*/ 374 w 420"/>
                  <a:gd name="T7" fmla="*/ 153 h 433"/>
                  <a:gd name="T8" fmla="*/ 376 w 420"/>
                  <a:gd name="T9" fmla="*/ 180 h 433"/>
                  <a:gd name="T10" fmla="*/ 384 w 420"/>
                  <a:gd name="T11" fmla="*/ 204 h 433"/>
                  <a:gd name="T12" fmla="*/ 398 w 420"/>
                  <a:gd name="T13" fmla="*/ 217 h 433"/>
                  <a:gd name="T14" fmla="*/ 417 w 420"/>
                  <a:gd name="T15" fmla="*/ 238 h 433"/>
                  <a:gd name="T16" fmla="*/ 406 w 420"/>
                  <a:gd name="T17" fmla="*/ 268 h 433"/>
                  <a:gd name="T18" fmla="*/ 396 w 420"/>
                  <a:gd name="T19" fmla="*/ 295 h 433"/>
                  <a:gd name="T20" fmla="*/ 383 w 420"/>
                  <a:gd name="T21" fmla="*/ 327 h 433"/>
                  <a:gd name="T22" fmla="*/ 359 w 420"/>
                  <a:gd name="T23" fmla="*/ 339 h 433"/>
                  <a:gd name="T24" fmla="*/ 332 w 420"/>
                  <a:gd name="T25" fmla="*/ 341 h 433"/>
                  <a:gd name="T26" fmla="*/ 309 w 420"/>
                  <a:gd name="T27" fmla="*/ 343 h 433"/>
                  <a:gd name="T28" fmla="*/ 308 w 420"/>
                  <a:gd name="T29" fmla="*/ 365 h 433"/>
                  <a:gd name="T30" fmla="*/ 303 w 420"/>
                  <a:gd name="T31" fmla="*/ 392 h 433"/>
                  <a:gd name="T32" fmla="*/ 296 w 420"/>
                  <a:gd name="T33" fmla="*/ 417 h 433"/>
                  <a:gd name="T34" fmla="*/ 284 w 420"/>
                  <a:gd name="T35" fmla="*/ 414 h 433"/>
                  <a:gd name="T36" fmla="*/ 262 w 420"/>
                  <a:gd name="T37" fmla="*/ 422 h 433"/>
                  <a:gd name="T38" fmla="*/ 245 w 420"/>
                  <a:gd name="T39" fmla="*/ 422 h 433"/>
                  <a:gd name="T40" fmla="*/ 223 w 420"/>
                  <a:gd name="T41" fmla="*/ 433 h 433"/>
                  <a:gd name="T42" fmla="*/ 204 w 420"/>
                  <a:gd name="T43" fmla="*/ 417 h 433"/>
                  <a:gd name="T44" fmla="*/ 199 w 420"/>
                  <a:gd name="T45" fmla="*/ 404 h 433"/>
                  <a:gd name="T46" fmla="*/ 173 w 420"/>
                  <a:gd name="T47" fmla="*/ 407 h 433"/>
                  <a:gd name="T48" fmla="*/ 148 w 420"/>
                  <a:gd name="T49" fmla="*/ 405 h 433"/>
                  <a:gd name="T50" fmla="*/ 134 w 420"/>
                  <a:gd name="T51" fmla="*/ 427 h 433"/>
                  <a:gd name="T52" fmla="*/ 112 w 420"/>
                  <a:gd name="T53" fmla="*/ 400 h 433"/>
                  <a:gd name="T54" fmla="*/ 109 w 420"/>
                  <a:gd name="T55" fmla="*/ 380 h 433"/>
                  <a:gd name="T56" fmla="*/ 117 w 420"/>
                  <a:gd name="T57" fmla="*/ 356 h 433"/>
                  <a:gd name="T58" fmla="*/ 122 w 420"/>
                  <a:gd name="T59" fmla="*/ 334 h 433"/>
                  <a:gd name="T60" fmla="*/ 141 w 420"/>
                  <a:gd name="T61" fmla="*/ 314 h 433"/>
                  <a:gd name="T62" fmla="*/ 117 w 420"/>
                  <a:gd name="T63" fmla="*/ 294 h 433"/>
                  <a:gd name="T64" fmla="*/ 104 w 420"/>
                  <a:gd name="T65" fmla="*/ 266 h 433"/>
                  <a:gd name="T66" fmla="*/ 76 w 420"/>
                  <a:gd name="T67" fmla="*/ 251 h 433"/>
                  <a:gd name="T68" fmla="*/ 63 w 420"/>
                  <a:gd name="T69" fmla="*/ 231 h 433"/>
                  <a:gd name="T70" fmla="*/ 56 w 420"/>
                  <a:gd name="T71" fmla="*/ 207 h 433"/>
                  <a:gd name="T72" fmla="*/ 39 w 420"/>
                  <a:gd name="T73" fmla="*/ 197 h 433"/>
                  <a:gd name="T74" fmla="*/ 44 w 420"/>
                  <a:gd name="T75" fmla="*/ 175 h 433"/>
                  <a:gd name="T76" fmla="*/ 19 w 420"/>
                  <a:gd name="T77" fmla="*/ 158 h 433"/>
                  <a:gd name="T78" fmla="*/ 13 w 420"/>
                  <a:gd name="T79" fmla="*/ 137 h 433"/>
                  <a:gd name="T80" fmla="*/ 0 w 420"/>
                  <a:gd name="T81" fmla="*/ 119 h 433"/>
                  <a:gd name="T82" fmla="*/ 3 w 420"/>
                  <a:gd name="T83" fmla="*/ 105 h 433"/>
                  <a:gd name="T84" fmla="*/ 22 w 420"/>
                  <a:gd name="T85" fmla="*/ 100 h 433"/>
                  <a:gd name="T86" fmla="*/ 41 w 420"/>
                  <a:gd name="T87" fmla="*/ 92 h 433"/>
                  <a:gd name="T88" fmla="*/ 56 w 420"/>
                  <a:gd name="T89" fmla="*/ 68 h 433"/>
                  <a:gd name="T90" fmla="*/ 49 w 420"/>
                  <a:gd name="T91" fmla="*/ 39 h 433"/>
                  <a:gd name="T92" fmla="*/ 59 w 420"/>
                  <a:gd name="T93" fmla="*/ 20 h 433"/>
                  <a:gd name="T94" fmla="*/ 93 w 420"/>
                  <a:gd name="T95" fmla="*/ 20 h 433"/>
                  <a:gd name="T96" fmla="*/ 117 w 420"/>
                  <a:gd name="T97" fmla="*/ 14 h 433"/>
                  <a:gd name="T98" fmla="*/ 134 w 420"/>
                  <a:gd name="T99" fmla="*/ 0 h 433"/>
                  <a:gd name="T100" fmla="*/ 158 w 420"/>
                  <a:gd name="T101" fmla="*/ 12 h 433"/>
                  <a:gd name="T102" fmla="*/ 180 w 420"/>
                  <a:gd name="T103" fmla="*/ 32 h 433"/>
                  <a:gd name="T104" fmla="*/ 172 w 420"/>
                  <a:gd name="T105" fmla="*/ 58 h 433"/>
                  <a:gd name="T106" fmla="*/ 185 w 420"/>
                  <a:gd name="T107" fmla="*/ 68 h 433"/>
                  <a:gd name="T108" fmla="*/ 211 w 420"/>
                  <a:gd name="T109" fmla="*/ 73 h 433"/>
                  <a:gd name="T110" fmla="*/ 233 w 420"/>
                  <a:gd name="T111" fmla="*/ 80 h 433"/>
                  <a:gd name="T112" fmla="*/ 248 w 420"/>
                  <a:gd name="T113" fmla="*/ 105 h 433"/>
                  <a:gd name="T114" fmla="*/ 277 w 420"/>
                  <a:gd name="T115" fmla="*/ 129 h 433"/>
                  <a:gd name="T116" fmla="*/ 308 w 420"/>
                  <a:gd name="T117" fmla="*/ 129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20" h="433">
                    <a:moveTo>
                      <a:pt x="316" y="122"/>
                    </a:moveTo>
                    <a:lnTo>
                      <a:pt x="320" y="127"/>
                    </a:lnTo>
                    <a:lnTo>
                      <a:pt x="325" y="131"/>
                    </a:lnTo>
                    <a:lnTo>
                      <a:pt x="325" y="126"/>
                    </a:lnTo>
                    <a:lnTo>
                      <a:pt x="321" y="122"/>
                    </a:lnTo>
                    <a:lnTo>
                      <a:pt x="326" y="119"/>
                    </a:lnTo>
                    <a:lnTo>
                      <a:pt x="330" y="122"/>
                    </a:lnTo>
                    <a:lnTo>
                      <a:pt x="332" y="126"/>
                    </a:lnTo>
                    <a:lnTo>
                      <a:pt x="333" y="122"/>
                    </a:lnTo>
                    <a:lnTo>
                      <a:pt x="332" y="119"/>
                    </a:lnTo>
                    <a:lnTo>
                      <a:pt x="335" y="117"/>
                    </a:lnTo>
                    <a:lnTo>
                      <a:pt x="338" y="119"/>
                    </a:lnTo>
                    <a:lnTo>
                      <a:pt x="343" y="119"/>
                    </a:lnTo>
                    <a:lnTo>
                      <a:pt x="349" y="119"/>
                    </a:lnTo>
                    <a:lnTo>
                      <a:pt x="354" y="122"/>
                    </a:lnTo>
                    <a:lnTo>
                      <a:pt x="359" y="122"/>
                    </a:lnTo>
                    <a:lnTo>
                      <a:pt x="364" y="126"/>
                    </a:lnTo>
                    <a:lnTo>
                      <a:pt x="367" y="127"/>
                    </a:lnTo>
                    <a:lnTo>
                      <a:pt x="372" y="129"/>
                    </a:lnTo>
                    <a:lnTo>
                      <a:pt x="371" y="134"/>
                    </a:lnTo>
                    <a:lnTo>
                      <a:pt x="372" y="139"/>
                    </a:lnTo>
                    <a:lnTo>
                      <a:pt x="376" y="143"/>
                    </a:lnTo>
                    <a:lnTo>
                      <a:pt x="376" y="148"/>
                    </a:lnTo>
                    <a:lnTo>
                      <a:pt x="374" y="153"/>
                    </a:lnTo>
                    <a:lnTo>
                      <a:pt x="372" y="158"/>
                    </a:lnTo>
                    <a:lnTo>
                      <a:pt x="374" y="165"/>
                    </a:lnTo>
                    <a:lnTo>
                      <a:pt x="377" y="170"/>
                    </a:lnTo>
                    <a:lnTo>
                      <a:pt x="374" y="173"/>
                    </a:lnTo>
                    <a:lnTo>
                      <a:pt x="376" y="177"/>
                    </a:lnTo>
                    <a:lnTo>
                      <a:pt x="376" y="180"/>
                    </a:lnTo>
                    <a:lnTo>
                      <a:pt x="374" y="187"/>
                    </a:lnTo>
                    <a:lnTo>
                      <a:pt x="377" y="190"/>
                    </a:lnTo>
                    <a:lnTo>
                      <a:pt x="379" y="193"/>
                    </a:lnTo>
                    <a:lnTo>
                      <a:pt x="377" y="197"/>
                    </a:lnTo>
                    <a:lnTo>
                      <a:pt x="381" y="200"/>
                    </a:lnTo>
                    <a:lnTo>
                      <a:pt x="384" y="204"/>
                    </a:lnTo>
                    <a:lnTo>
                      <a:pt x="383" y="207"/>
                    </a:lnTo>
                    <a:lnTo>
                      <a:pt x="381" y="212"/>
                    </a:lnTo>
                    <a:lnTo>
                      <a:pt x="384" y="217"/>
                    </a:lnTo>
                    <a:lnTo>
                      <a:pt x="389" y="217"/>
                    </a:lnTo>
                    <a:lnTo>
                      <a:pt x="393" y="217"/>
                    </a:lnTo>
                    <a:lnTo>
                      <a:pt x="398" y="217"/>
                    </a:lnTo>
                    <a:lnTo>
                      <a:pt x="401" y="217"/>
                    </a:lnTo>
                    <a:lnTo>
                      <a:pt x="405" y="222"/>
                    </a:lnTo>
                    <a:lnTo>
                      <a:pt x="406" y="226"/>
                    </a:lnTo>
                    <a:lnTo>
                      <a:pt x="408" y="231"/>
                    </a:lnTo>
                    <a:lnTo>
                      <a:pt x="413" y="234"/>
                    </a:lnTo>
                    <a:lnTo>
                      <a:pt x="417" y="238"/>
                    </a:lnTo>
                    <a:lnTo>
                      <a:pt x="420" y="238"/>
                    </a:lnTo>
                    <a:lnTo>
                      <a:pt x="420" y="244"/>
                    </a:lnTo>
                    <a:lnTo>
                      <a:pt x="418" y="248"/>
                    </a:lnTo>
                    <a:lnTo>
                      <a:pt x="413" y="258"/>
                    </a:lnTo>
                    <a:lnTo>
                      <a:pt x="411" y="261"/>
                    </a:lnTo>
                    <a:lnTo>
                      <a:pt x="406" y="268"/>
                    </a:lnTo>
                    <a:lnTo>
                      <a:pt x="403" y="273"/>
                    </a:lnTo>
                    <a:lnTo>
                      <a:pt x="401" y="280"/>
                    </a:lnTo>
                    <a:lnTo>
                      <a:pt x="400" y="283"/>
                    </a:lnTo>
                    <a:lnTo>
                      <a:pt x="400" y="287"/>
                    </a:lnTo>
                    <a:lnTo>
                      <a:pt x="398" y="290"/>
                    </a:lnTo>
                    <a:lnTo>
                      <a:pt x="396" y="295"/>
                    </a:lnTo>
                    <a:lnTo>
                      <a:pt x="393" y="305"/>
                    </a:lnTo>
                    <a:lnTo>
                      <a:pt x="393" y="310"/>
                    </a:lnTo>
                    <a:lnTo>
                      <a:pt x="389" y="316"/>
                    </a:lnTo>
                    <a:lnTo>
                      <a:pt x="386" y="319"/>
                    </a:lnTo>
                    <a:lnTo>
                      <a:pt x="384" y="324"/>
                    </a:lnTo>
                    <a:lnTo>
                      <a:pt x="383" y="327"/>
                    </a:lnTo>
                    <a:lnTo>
                      <a:pt x="381" y="331"/>
                    </a:lnTo>
                    <a:lnTo>
                      <a:pt x="377" y="334"/>
                    </a:lnTo>
                    <a:lnTo>
                      <a:pt x="372" y="341"/>
                    </a:lnTo>
                    <a:lnTo>
                      <a:pt x="366" y="338"/>
                    </a:lnTo>
                    <a:lnTo>
                      <a:pt x="362" y="339"/>
                    </a:lnTo>
                    <a:lnTo>
                      <a:pt x="359" y="339"/>
                    </a:lnTo>
                    <a:lnTo>
                      <a:pt x="355" y="338"/>
                    </a:lnTo>
                    <a:lnTo>
                      <a:pt x="352" y="341"/>
                    </a:lnTo>
                    <a:lnTo>
                      <a:pt x="347" y="339"/>
                    </a:lnTo>
                    <a:lnTo>
                      <a:pt x="342" y="343"/>
                    </a:lnTo>
                    <a:lnTo>
                      <a:pt x="338" y="343"/>
                    </a:lnTo>
                    <a:lnTo>
                      <a:pt x="332" y="341"/>
                    </a:lnTo>
                    <a:lnTo>
                      <a:pt x="328" y="343"/>
                    </a:lnTo>
                    <a:lnTo>
                      <a:pt x="325" y="339"/>
                    </a:lnTo>
                    <a:lnTo>
                      <a:pt x="318" y="341"/>
                    </a:lnTo>
                    <a:lnTo>
                      <a:pt x="315" y="343"/>
                    </a:lnTo>
                    <a:lnTo>
                      <a:pt x="311" y="339"/>
                    </a:lnTo>
                    <a:lnTo>
                      <a:pt x="309" y="343"/>
                    </a:lnTo>
                    <a:lnTo>
                      <a:pt x="308" y="346"/>
                    </a:lnTo>
                    <a:lnTo>
                      <a:pt x="309" y="349"/>
                    </a:lnTo>
                    <a:lnTo>
                      <a:pt x="309" y="353"/>
                    </a:lnTo>
                    <a:lnTo>
                      <a:pt x="309" y="356"/>
                    </a:lnTo>
                    <a:lnTo>
                      <a:pt x="309" y="360"/>
                    </a:lnTo>
                    <a:lnTo>
                      <a:pt x="308" y="365"/>
                    </a:lnTo>
                    <a:lnTo>
                      <a:pt x="308" y="368"/>
                    </a:lnTo>
                    <a:lnTo>
                      <a:pt x="304" y="373"/>
                    </a:lnTo>
                    <a:lnTo>
                      <a:pt x="306" y="377"/>
                    </a:lnTo>
                    <a:lnTo>
                      <a:pt x="308" y="382"/>
                    </a:lnTo>
                    <a:lnTo>
                      <a:pt x="306" y="388"/>
                    </a:lnTo>
                    <a:lnTo>
                      <a:pt x="303" y="392"/>
                    </a:lnTo>
                    <a:lnTo>
                      <a:pt x="301" y="395"/>
                    </a:lnTo>
                    <a:lnTo>
                      <a:pt x="299" y="400"/>
                    </a:lnTo>
                    <a:lnTo>
                      <a:pt x="299" y="404"/>
                    </a:lnTo>
                    <a:lnTo>
                      <a:pt x="296" y="407"/>
                    </a:lnTo>
                    <a:lnTo>
                      <a:pt x="294" y="412"/>
                    </a:lnTo>
                    <a:lnTo>
                      <a:pt x="296" y="417"/>
                    </a:lnTo>
                    <a:lnTo>
                      <a:pt x="299" y="421"/>
                    </a:lnTo>
                    <a:lnTo>
                      <a:pt x="299" y="424"/>
                    </a:lnTo>
                    <a:lnTo>
                      <a:pt x="296" y="424"/>
                    </a:lnTo>
                    <a:lnTo>
                      <a:pt x="291" y="419"/>
                    </a:lnTo>
                    <a:lnTo>
                      <a:pt x="287" y="416"/>
                    </a:lnTo>
                    <a:lnTo>
                      <a:pt x="284" y="414"/>
                    </a:lnTo>
                    <a:lnTo>
                      <a:pt x="280" y="416"/>
                    </a:lnTo>
                    <a:lnTo>
                      <a:pt x="275" y="414"/>
                    </a:lnTo>
                    <a:lnTo>
                      <a:pt x="270" y="416"/>
                    </a:lnTo>
                    <a:lnTo>
                      <a:pt x="267" y="419"/>
                    </a:lnTo>
                    <a:lnTo>
                      <a:pt x="262" y="417"/>
                    </a:lnTo>
                    <a:lnTo>
                      <a:pt x="262" y="422"/>
                    </a:lnTo>
                    <a:lnTo>
                      <a:pt x="262" y="426"/>
                    </a:lnTo>
                    <a:lnTo>
                      <a:pt x="262" y="429"/>
                    </a:lnTo>
                    <a:lnTo>
                      <a:pt x="257" y="429"/>
                    </a:lnTo>
                    <a:lnTo>
                      <a:pt x="253" y="426"/>
                    </a:lnTo>
                    <a:lnTo>
                      <a:pt x="250" y="424"/>
                    </a:lnTo>
                    <a:lnTo>
                      <a:pt x="245" y="422"/>
                    </a:lnTo>
                    <a:lnTo>
                      <a:pt x="243" y="426"/>
                    </a:lnTo>
                    <a:lnTo>
                      <a:pt x="238" y="427"/>
                    </a:lnTo>
                    <a:lnTo>
                      <a:pt x="235" y="429"/>
                    </a:lnTo>
                    <a:lnTo>
                      <a:pt x="231" y="427"/>
                    </a:lnTo>
                    <a:lnTo>
                      <a:pt x="228" y="431"/>
                    </a:lnTo>
                    <a:lnTo>
                      <a:pt x="223" y="433"/>
                    </a:lnTo>
                    <a:lnTo>
                      <a:pt x="219" y="433"/>
                    </a:lnTo>
                    <a:lnTo>
                      <a:pt x="214" y="431"/>
                    </a:lnTo>
                    <a:lnTo>
                      <a:pt x="212" y="427"/>
                    </a:lnTo>
                    <a:lnTo>
                      <a:pt x="209" y="424"/>
                    </a:lnTo>
                    <a:lnTo>
                      <a:pt x="207" y="421"/>
                    </a:lnTo>
                    <a:lnTo>
                      <a:pt x="204" y="417"/>
                    </a:lnTo>
                    <a:lnTo>
                      <a:pt x="202" y="412"/>
                    </a:lnTo>
                    <a:lnTo>
                      <a:pt x="206" y="407"/>
                    </a:lnTo>
                    <a:lnTo>
                      <a:pt x="209" y="404"/>
                    </a:lnTo>
                    <a:lnTo>
                      <a:pt x="209" y="400"/>
                    </a:lnTo>
                    <a:lnTo>
                      <a:pt x="204" y="399"/>
                    </a:lnTo>
                    <a:lnTo>
                      <a:pt x="199" y="404"/>
                    </a:lnTo>
                    <a:lnTo>
                      <a:pt x="195" y="404"/>
                    </a:lnTo>
                    <a:lnTo>
                      <a:pt x="190" y="402"/>
                    </a:lnTo>
                    <a:lnTo>
                      <a:pt x="185" y="400"/>
                    </a:lnTo>
                    <a:lnTo>
                      <a:pt x="182" y="399"/>
                    </a:lnTo>
                    <a:lnTo>
                      <a:pt x="177" y="402"/>
                    </a:lnTo>
                    <a:lnTo>
                      <a:pt x="173" y="407"/>
                    </a:lnTo>
                    <a:lnTo>
                      <a:pt x="172" y="402"/>
                    </a:lnTo>
                    <a:lnTo>
                      <a:pt x="167" y="402"/>
                    </a:lnTo>
                    <a:lnTo>
                      <a:pt x="161" y="400"/>
                    </a:lnTo>
                    <a:lnTo>
                      <a:pt x="158" y="400"/>
                    </a:lnTo>
                    <a:lnTo>
                      <a:pt x="153" y="400"/>
                    </a:lnTo>
                    <a:lnTo>
                      <a:pt x="148" y="405"/>
                    </a:lnTo>
                    <a:lnTo>
                      <a:pt x="146" y="411"/>
                    </a:lnTo>
                    <a:lnTo>
                      <a:pt x="143" y="414"/>
                    </a:lnTo>
                    <a:lnTo>
                      <a:pt x="139" y="417"/>
                    </a:lnTo>
                    <a:lnTo>
                      <a:pt x="139" y="421"/>
                    </a:lnTo>
                    <a:lnTo>
                      <a:pt x="138" y="427"/>
                    </a:lnTo>
                    <a:lnTo>
                      <a:pt x="134" y="427"/>
                    </a:lnTo>
                    <a:lnTo>
                      <a:pt x="129" y="424"/>
                    </a:lnTo>
                    <a:lnTo>
                      <a:pt x="127" y="416"/>
                    </a:lnTo>
                    <a:lnTo>
                      <a:pt x="124" y="412"/>
                    </a:lnTo>
                    <a:lnTo>
                      <a:pt x="119" y="407"/>
                    </a:lnTo>
                    <a:lnTo>
                      <a:pt x="115" y="404"/>
                    </a:lnTo>
                    <a:lnTo>
                      <a:pt x="112" y="400"/>
                    </a:lnTo>
                    <a:lnTo>
                      <a:pt x="112" y="395"/>
                    </a:lnTo>
                    <a:lnTo>
                      <a:pt x="107" y="390"/>
                    </a:lnTo>
                    <a:lnTo>
                      <a:pt x="104" y="392"/>
                    </a:lnTo>
                    <a:lnTo>
                      <a:pt x="107" y="387"/>
                    </a:lnTo>
                    <a:lnTo>
                      <a:pt x="110" y="385"/>
                    </a:lnTo>
                    <a:lnTo>
                      <a:pt x="109" y="380"/>
                    </a:lnTo>
                    <a:lnTo>
                      <a:pt x="104" y="377"/>
                    </a:lnTo>
                    <a:lnTo>
                      <a:pt x="107" y="377"/>
                    </a:lnTo>
                    <a:lnTo>
                      <a:pt x="112" y="373"/>
                    </a:lnTo>
                    <a:lnTo>
                      <a:pt x="114" y="370"/>
                    </a:lnTo>
                    <a:lnTo>
                      <a:pt x="117" y="363"/>
                    </a:lnTo>
                    <a:lnTo>
                      <a:pt x="117" y="356"/>
                    </a:lnTo>
                    <a:lnTo>
                      <a:pt x="117" y="353"/>
                    </a:lnTo>
                    <a:lnTo>
                      <a:pt x="114" y="349"/>
                    </a:lnTo>
                    <a:lnTo>
                      <a:pt x="117" y="344"/>
                    </a:lnTo>
                    <a:lnTo>
                      <a:pt x="117" y="341"/>
                    </a:lnTo>
                    <a:lnTo>
                      <a:pt x="121" y="338"/>
                    </a:lnTo>
                    <a:lnTo>
                      <a:pt x="122" y="334"/>
                    </a:lnTo>
                    <a:lnTo>
                      <a:pt x="127" y="333"/>
                    </a:lnTo>
                    <a:lnTo>
                      <a:pt x="131" y="329"/>
                    </a:lnTo>
                    <a:lnTo>
                      <a:pt x="136" y="326"/>
                    </a:lnTo>
                    <a:lnTo>
                      <a:pt x="138" y="322"/>
                    </a:lnTo>
                    <a:lnTo>
                      <a:pt x="136" y="316"/>
                    </a:lnTo>
                    <a:lnTo>
                      <a:pt x="141" y="314"/>
                    </a:lnTo>
                    <a:lnTo>
                      <a:pt x="138" y="309"/>
                    </a:lnTo>
                    <a:lnTo>
                      <a:pt x="139" y="304"/>
                    </a:lnTo>
                    <a:lnTo>
                      <a:pt x="134" y="300"/>
                    </a:lnTo>
                    <a:lnTo>
                      <a:pt x="127" y="299"/>
                    </a:lnTo>
                    <a:lnTo>
                      <a:pt x="124" y="299"/>
                    </a:lnTo>
                    <a:lnTo>
                      <a:pt x="117" y="294"/>
                    </a:lnTo>
                    <a:lnTo>
                      <a:pt x="115" y="288"/>
                    </a:lnTo>
                    <a:lnTo>
                      <a:pt x="110" y="283"/>
                    </a:lnTo>
                    <a:lnTo>
                      <a:pt x="110" y="278"/>
                    </a:lnTo>
                    <a:lnTo>
                      <a:pt x="110" y="275"/>
                    </a:lnTo>
                    <a:lnTo>
                      <a:pt x="107" y="268"/>
                    </a:lnTo>
                    <a:lnTo>
                      <a:pt x="104" y="266"/>
                    </a:lnTo>
                    <a:lnTo>
                      <a:pt x="100" y="265"/>
                    </a:lnTo>
                    <a:lnTo>
                      <a:pt x="93" y="261"/>
                    </a:lnTo>
                    <a:lnTo>
                      <a:pt x="90" y="258"/>
                    </a:lnTo>
                    <a:lnTo>
                      <a:pt x="87" y="256"/>
                    </a:lnTo>
                    <a:lnTo>
                      <a:pt x="83" y="255"/>
                    </a:lnTo>
                    <a:lnTo>
                      <a:pt x="76" y="251"/>
                    </a:lnTo>
                    <a:lnTo>
                      <a:pt x="76" y="248"/>
                    </a:lnTo>
                    <a:lnTo>
                      <a:pt x="73" y="244"/>
                    </a:lnTo>
                    <a:lnTo>
                      <a:pt x="70" y="239"/>
                    </a:lnTo>
                    <a:lnTo>
                      <a:pt x="66" y="238"/>
                    </a:lnTo>
                    <a:lnTo>
                      <a:pt x="63" y="234"/>
                    </a:lnTo>
                    <a:lnTo>
                      <a:pt x="63" y="231"/>
                    </a:lnTo>
                    <a:lnTo>
                      <a:pt x="63" y="226"/>
                    </a:lnTo>
                    <a:lnTo>
                      <a:pt x="63" y="221"/>
                    </a:lnTo>
                    <a:lnTo>
                      <a:pt x="61" y="217"/>
                    </a:lnTo>
                    <a:lnTo>
                      <a:pt x="56" y="212"/>
                    </a:lnTo>
                    <a:lnTo>
                      <a:pt x="59" y="207"/>
                    </a:lnTo>
                    <a:lnTo>
                      <a:pt x="56" y="207"/>
                    </a:lnTo>
                    <a:lnTo>
                      <a:pt x="53" y="205"/>
                    </a:lnTo>
                    <a:lnTo>
                      <a:pt x="53" y="202"/>
                    </a:lnTo>
                    <a:lnTo>
                      <a:pt x="49" y="202"/>
                    </a:lnTo>
                    <a:lnTo>
                      <a:pt x="46" y="200"/>
                    </a:lnTo>
                    <a:lnTo>
                      <a:pt x="42" y="200"/>
                    </a:lnTo>
                    <a:lnTo>
                      <a:pt x="39" y="197"/>
                    </a:lnTo>
                    <a:lnTo>
                      <a:pt x="36" y="192"/>
                    </a:lnTo>
                    <a:lnTo>
                      <a:pt x="39" y="187"/>
                    </a:lnTo>
                    <a:lnTo>
                      <a:pt x="41" y="183"/>
                    </a:lnTo>
                    <a:lnTo>
                      <a:pt x="46" y="180"/>
                    </a:lnTo>
                    <a:lnTo>
                      <a:pt x="47" y="175"/>
                    </a:lnTo>
                    <a:lnTo>
                      <a:pt x="44" y="175"/>
                    </a:lnTo>
                    <a:lnTo>
                      <a:pt x="41" y="171"/>
                    </a:lnTo>
                    <a:lnTo>
                      <a:pt x="36" y="170"/>
                    </a:lnTo>
                    <a:lnTo>
                      <a:pt x="32" y="168"/>
                    </a:lnTo>
                    <a:lnTo>
                      <a:pt x="27" y="166"/>
                    </a:lnTo>
                    <a:lnTo>
                      <a:pt x="24" y="161"/>
                    </a:lnTo>
                    <a:lnTo>
                      <a:pt x="19" y="158"/>
                    </a:lnTo>
                    <a:lnTo>
                      <a:pt x="15" y="156"/>
                    </a:lnTo>
                    <a:lnTo>
                      <a:pt x="13" y="153"/>
                    </a:lnTo>
                    <a:lnTo>
                      <a:pt x="12" y="149"/>
                    </a:lnTo>
                    <a:lnTo>
                      <a:pt x="12" y="146"/>
                    </a:lnTo>
                    <a:lnTo>
                      <a:pt x="13" y="143"/>
                    </a:lnTo>
                    <a:lnTo>
                      <a:pt x="13" y="137"/>
                    </a:lnTo>
                    <a:lnTo>
                      <a:pt x="13" y="132"/>
                    </a:lnTo>
                    <a:lnTo>
                      <a:pt x="10" y="131"/>
                    </a:lnTo>
                    <a:lnTo>
                      <a:pt x="10" y="127"/>
                    </a:lnTo>
                    <a:lnTo>
                      <a:pt x="7" y="124"/>
                    </a:lnTo>
                    <a:lnTo>
                      <a:pt x="3" y="121"/>
                    </a:lnTo>
                    <a:lnTo>
                      <a:pt x="0" y="119"/>
                    </a:lnTo>
                    <a:lnTo>
                      <a:pt x="3" y="117"/>
                    </a:lnTo>
                    <a:lnTo>
                      <a:pt x="8" y="117"/>
                    </a:lnTo>
                    <a:lnTo>
                      <a:pt x="8" y="114"/>
                    </a:lnTo>
                    <a:lnTo>
                      <a:pt x="8" y="109"/>
                    </a:lnTo>
                    <a:lnTo>
                      <a:pt x="7" y="105"/>
                    </a:lnTo>
                    <a:lnTo>
                      <a:pt x="3" y="105"/>
                    </a:lnTo>
                    <a:lnTo>
                      <a:pt x="1" y="100"/>
                    </a:lnTo>
                    <a:lnTo>
                      <a:pt x="7" y="98"/>
                    </a:lnTo>
                    <a:lnTo>
                      <a:pt x="12" y="102"/>
                    </a:lnTo>
                    <a:lnTo>
                      <a:pt x="15" y="102"/>
                    </a:lnTo>
                    <a:lnTo>
                      <a:pt x="19" y="100"/>
                    </a:lnTo>
                    <a:lnTo>
                      <a:pt x="22" y="100"/>
                    </a:lnTo>
                    <a:lnTo>
                      <a:pt x="25" y="100"/>
                    </a:lnTo>
                    <a:lnTo>
                      <a:pt x="30" y="104"/>
                    </a:lnTo>
                    <a:lnTo>
                      <a:pt x="34" y="102"/>
                    </a:lnTo>
                    <a:lnTo>
                      <a:pt x="32" y="97"/>
                    </a:lnTo>
                    <a:lnTo>
                      <a:pt x="37" y="93"/>
                    </a:lnTo>
                    <a:lnTo>
                      <a:pt x="41" y="92"/>
                    </a:lnTo>
                    <a:lnTo>
                      <a:pt x="47" y="88"/>
                    </a:lnTo>
                    <a:lnTo>
                      <a:pt x="49" y="85"/>
                    </a:lnTo>
                    <a:lnTo>
                      <a:pt x="51" y="80"/>
                    </a:lnTo>
                    <a:lnTo>
                      <a:pt x="51" y="75"/>
                    </a:lnTo>
                    <a:lnTo>
                      <a:pt x="53" y="71"/>
                    </a:lnTo>
                    <a:lnTo>
                      <a:pt x="56" y="68"/>
                    </a:lnTo>
                    <a:lnTo>
                      <a:pt x="58" y="63"/>
                    </a:lnTo>
                    <a:lnTo>
                      <a:pt x="56" y="58"/>
                    </a:lnTo>
                    <a:lnTo>
                      <a:pt x="56" y="51"/>
                    </a:lnTo>
                    <a:lnTo>
                      <a:pt x="53" y="48"/>
                    </a:lnTo>
                    <a:lnTo>
                      <a:pt x="53" y="43"/>
                    </a:lnTo>
                    <a:lnTo>
                      <a:pt x="49" y="39"/>
                    </a:lnTo>
                    <a:lnTo>
                      <a:pt x="49" y="34"/>
                    </a:lnTo>
                    <a:lnTo>
                      <a:pt x="47" y="31"/>
                    </a:lnTo>
                    <a:lnTo>
                      <a:pt x="51" y="27"/>
                    </a:lnTo>
                    <a:lnTo>
                      <a:pt x="53" y="24"/>
                    </a:lnTo>
                    <a:lnTo>
                      <a:pt x="56" y="22"/>
                    </a:lnTo>
                    <a:lnTo>
                      <a:pt x="59" y="20"/>
                    </a:lnTo>
                    <a:lnTo>
                      <a:pt x="63" y="20"/>
                    </a:lnTo>
                    <a:lnTo>
                      <a:pt x="66" y="19"/>
                    </a:lnTo>
                    <a:lnTo>
                      <a:pt x="70" y="20"/>
                    </a:lnTo>
                    <a:lnTo>
                      <a:pt x="75" y="22"/>
                    </a:lnTo>
                    <a:lnTo>
                      <a:pt x="81" y="24"/>
                    </a:lnTo>
                    <a:lnTo>
                      <a:pt x="93" y="20"/>
                    </a:lnTo>
                    <a:lnTo>
                      <a:pt x="97" y="17"/>
                    </a:lnTo>
                    <a:lnTo>
                      <a:pt x="100" y="17"/>
                    </a:lnTo>
                    <a:lnTo>
                      <a:pt x="107" y="20"/>
                    </a:lnTo>
                    <a:lnTo>
                      <a:pt x="110" y="19"/>
                    </a:lnTo>
                    <a:lnTo>
                      <a:pt x="114" y="19"/>
                    </a:lnTo>
                    <a:lnTo>
                      <a:pt x="117" y="14"/>
                    </a:lnTo>
                    <a:lnTo>
                      <a:pt x="117" y="10"/>
                    </a:lnTo>
                    <a:lnTo>
                      <a:pt x="121" y="9"/>
                    </a:lnTo>
                    <a:lnTo>
                      <a:pt x="124" y="4"/>
                    </a:lnTo>
                    <a:lnTo>
                      <a:pt x="127" y="5"/>
                    </a:lnTo>
                    <a:lnTo>
                      <a:pt x="131" y="4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1" y="4"/>
                    </a:lnTo>
                    <a:lnTo>
                      <a:pt x="146" y="7"/>
                    </a:lnTo>
                    <a:lnTo>
                      <a:pt x="151" y="10"/>
                    </a:lnTo>
                    <a:lnTo>
                      <a:pt x="156" y="9"/>
                    </a:lnTo>
                    <a:lnTo>
                      <a:pt x="158" y="12"/>
                    </a:lnTo>
                    <a:lnTo>
                      <a:pt x="163" y="14"/>
                    </a:lnTo>
                    <a:lnTo>
                      <a:pt x="165" y="17"/>
                    </a:lnTo>
                    <a:lnTo>
                      <a:pt x="167" y="20"/>
                    </a:lnTo>
                    <a:lnTo>
                      <a:pt x="170" y="27"/>
                    </a:lnTo>
                    <a:lnTo>
                      <a:pt x="177" y="27"/>
                    </a:lnTo>
                    <a:lnTo>
                      <a:pt x="180" y="32"/>
                    </a:lnTo>
                    <a:lnTo>
                      <a:pt x="182" y="36"/>
                    </a:lnTo>
                    <a:lnTo>
                      <a:pt x="178" y="39"/>
                    </a:lnTo>
                    <a:lnTo>
                      <a:pt x="180" y="44"/>
                    </a:lnTo>
                    <a:lnTo>
                      <a:pt x="178" y="49"/>
                    </a:lnTo>
                    <a:lnTo>
                      <a:pt x="175" y="54"/>
                    </a:lnTo>
                    <a:lnTo>
                      <a:pt x="172" y="58"/>
                    </a:lnTo>
                    <a:lnTo>
                      <a:pt x="167" y="58"/>
                    </a:lnTo>
                    <a:lnTo>
                      <a:pt x="167" y="61"/>
                    </a:lnTo>
                    <a:lnTo>
                      <a:pt x="172" y="63"/>
                    </a:lnTo>
                    <a:lnTo>
                      <a:pt x="177" y="65"/>
                    </a:lnTo>
                    <a:lnTo>
                      <a:pt x="180" y="65"/>
                    </a:lnTo>
                    <a:lnTo>
                      <a:pt x="185" y="68"/>
                    </a:lnTo>
                    <a:lnTo>
                      <a:pt x="189" y="70"/>
                    </a:lnTo>
                    <a:lnTo>
                      <a:pt x="194" y="71"/>
                    </a:lnTo>
                    <a:lnTo>
                      <a:pt x="199" y="71"/>
                    </a:lnTo>
                    <a:lnTo>
                      <a:pt x="206" y="78"/>
                    </a:lnTo>
                    <a:lnTo>
                      <a:pt x="211" y="76"/>
                    </a:lnTo>
                    <a:lnTo>
                      <a:pt x="211" y="73"/>
                    </a:lnTo>
                    <a:lnTo>
                      <a:pt x="214" y="70"/>
                    </a:lnTo>
                    <a:lnTo>
                      <a:pt x="219" y="68"/>
                    </a:lnTo>
                    <a:lnTo>
                      <a:pt x="223" y="70"/>
                    </a:lnTo>
                    <a:lnTo>
                      <a:pt x="228" y="71"/>
                    </a:lnTo>
                    <a:lnTo>
                      <a:pt x="231" y="75"/>
                    </a:lnTo>
                    <a:lnTo>
                      <a:pt x="233" y="80"/>
                    </a:lnTo>
                    <a:lnTo>
                      <a:pt x="236" y="83"/>
                    </a:lnTo>
                    <a:lnTo>
                      <a:pt x="236" y="88"/>
                    </a:lnTo>
                    <a:lnTo>
                      <a:pt x="238" y="92"/>
                    </a:lnTo>
                    <a:lnTo>
                      <a:pt x="241" y="97"/>
                    </a:lnTo>
                    <a:lnTo>
                      <a:pt x="245" y="102"/>
                    </a:lnTo>
                    <a:lnTo>
                      <a:pt x="248" y="105"/>
                    </a:lnTo>
                    <a:lnTo>
                      <a:pt x="252" y="109"/>
                    </a:lnTo>
                    <a:lnTo>
                      <a:pt x="255" y="112"/>
                    </a:lnTo>
                    <a:lnTo>
                      <a:pt x="262" y="115"/>
                    </a:lnTo>
                    <a:lnTo>
                      <a:pt x="267" y="121"/>
                    </a:lnTo>
                    <a:lnTo>
                      <a:pt x="270" y="126"/>
                    </a:lnTo>
                    <a:lnTo>
                      <a:pt x="277" y="129"/>
                    </a:lnTo>
                    <a:lnTo>
                      <a:pt x="280" y="131"/>
                    </a:lnTo>
                    <a:lnTo>
                      <a:pt x="287" y="137"/>
                    </a:lnTo>
                    <a:lnTo>
                      <a:pt x="291" y="143"/>
                    </a:lnTo>
                    <a:lnTo>
                      <a:pt x="296" y="141"/>
                    </a:lnTo>
                    <a:lnTo>
                      <a:pt x="301" y="136"/>
                    </a:lnTo>
                    <a:lnTo>
                      <a:pt x="308" y="129"/>
                    </a:lnTo>
                    <a:lnTo>
                      <a:pt x="311" y="122"/>
                    </a:lnTo>
                    <a:lnTo>
                      <a:pt x="313" y="119"/>
                    </a:lnTo>
                    <a:lnTo>
                      <a:pt x="316" y="122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5" name="Line 102">
                <a:extLst>
                  <a:ext uri="{FF2B5EF4-FFF2-40B4-BE49-F238E27FC236}">
                    <a16:creationId xmlns:a16="http://schemas.microsoft.com/office/drawing/2014/main" id="{C0AADBE4-E05C-A74F-5400-3B095C0E6B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15375" y="46910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6" name="Line 103">
                <a:extLst>
                  <a:ext uri="{FF2B5EF4-FFF2-40B4-BE49-F238E27FC236}">
                    <a16:creationId xmlns:a16="http://schemas.microsoft.com/office/drawing/2014/main" id="{94DFA24B-9811-B549-8B3E-2F19F7E2F2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97913" y="46069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7" name="Line 104">
                <a:extLst>
                  <a:ext uri="{FF2B5EF4-FFF2-40B4-BE49-F238E27FC236}">
                    <a16:creationId xmlns:a16="http://schemas.microsoft.com/office/drawing/2014/main" id="{DB1B6E6C-D146-FEDC-B7B1-1DBC12DAE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01088" y="46021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8" name="Line 105">
                <a:extLst>
                  <a:ext uri="{FF2B5EF4-FFF2-40B4-BE49-F238E27FC236}">
                    <a16:creationId xmlns:a16="http://schemas.microsoft.com/office/drawing/2014/main" id="{EB90897A-CA9A-953E-EDA6-2754983BC5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697913" y="45942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79" name="Freeform 106">
                <a:extLst>
                  <a:ext uri="{FF2B5EF4-FFF2-40B4-BE49-F238E27FC236}">
                    <a16:creationId xmlns:a16="http://schemas.microsoft.com/office/drawing/2014/main" id="{51B4CCAC-317D-249F-E76A-84AE22C7A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4419600"/>
                <a:ext cx="666750" cy="1265237"/>
              </a:xfrm>
              <a:custGeom>
                <a:avLst/>
                <a:gdLst>
                  <a:gd name="T0" fmla="*/ 335 w 420"/>
                  <a:gd name="T1" fmla="*/ 212 h 797"/>
                  <a:gd name="T2" fmla="*/ 372 w 420"/>
                  <a:gd name="T3" fmla="*/ 235 h 797"/>
                  <a:gd name="T4" fmla="*/ 393 w 420"/>
                  <a:gd name="T5" fmla="*/ 257 h 797"/>
                  <a:gd name="T6" fmla="*/ 389 w 420"/>
                  <a:gd name="T7" fmla="*/ 300 h 797"/>
                  <a:gd name="T8" fmla="*/ 393 w 420"/>
                  <a:gd name="T9" fmla="*/ 340 h 797"/>
                  <a:gd name="T10" fmla="*/ 406 w 420"/>
                  <a:gd name="T11" fmla="*/ 369 h 797"/>
                  <a:gd name="T12" fmla="*/ 412 w 420"/>
                  <a:gd name="T13" fmla="*/ 403 h 797"/>
                  <a:gd name="T14" fmla="*/ 379 w 420"/>
                  <a:gd name="T15" fmla="*/ 417 h 797"/>
                  <a:gd name="T16" fmla="*/ 328 w 420"/>
                  <a:gd name="T17" fmla="*/ 420 h 797"/>
                  <a:gd name="T18" fmla="*/ 284 w 420"/>
                  <a:gd name="T19" fmla="*/ 449 h 797"/>
                  <a:gd name="T20" fmla="*/ 255 w 420"/>
                  <a:gd name="T21" fmla="*/ 480 h 797"/>
                  <a:gd name="T22" fmla="*/ 253 w 420"/>
                  <a:gd name="T23" fmla="*/ 515 h 797"/>
                  <a:gd name="T24" fmla="*/ 262 w 420"/>
                  <a:gd name="T25" fmla="*/ 558 h 797"/>
                  <a:gd name="T26" fmla="*/ 264 w 420"/>
                  <a:gd name="T27" fmla="*/ 603 h 797"/>
                  <a:gd name="T28" fmla="*/ 231 w 420"/>
                  <a:gd name="T29" fmla="*/ 637 h 797"/>
                  <a:gd name="T30" fmla="*/ 196 w 420"/>
                  <a:gd name="T31" fmla="*/ 663 h 797"/>
                  <a:gd name="T32" fmla="*/ 170 w 420"/>
                  <a:gd name="T33" fmla="*/ 700 h 797"/>
                  <a:gd name="T34" fmla="*/ 158 w 420"/>
                  <a:gd name="T35" fmla="*/ 737 h 797"/>
                  <a:gd name="T36" fmla="*/ 143 w 420"/>
                  <a:gd name="T37" fmla="*/ 781 h 797"/>
                  <a:gd name="T38" fmla="*/ 105 w 420"/>
                  <a:gd name="T39" fmla="*/ 792 h 797"/>
                  <a:gd name="T40" fmla="*/ 65 w 420"/>
                  <a:gd name="T41" fmla="*/ 795 h 797"/>
                  <a:gd name="T42" fmla="*/ 22 w 420"/>
                  <a:gd name="T43" fmla="*/ 776 h 797"/>
                  <a:gd name="T44" fmla="*/ 13 w 420"/>
                  <a:gd name="T45" fmla="*/ 741 h 797"/>
                  <a:gd name="T46" fmla="*/ 12 w 420"/>
                  <a:gd name="T47" fmla="*/ 698 h 797"/>
                  <a:gd name="T48" fmla="*/ 42 w 420"/>
                  <a:gd name="T49" fmla="*/ 678 h 797"/>
                  <a:gd name="T50" fmla="*/ 65 w 420"/>
                  <a:gd name="T51" fmla="*/ 639 h 797"/>
                  <a:gd name="T52" fmla="*/ 80 w 420"/>
                  <a:gd name="T53" fmla="*/ 597 h 797"/>
                  <a:gd name="T54" fmla="*/ 73 w 420"/>
                  <a:gd name="T55" fmla="*/ 563 h 797"/>
                  <a:gd name="T56" fmla="*/ 71 w 420"/>
                  <a:gd name="T57" fmla="*/ 527 h 797"/>
                  <a:gd name="T58" fmla="*/ 107 w 420"/>
                  <a:gd name="T59" fmla="*/ 507 h 797"/>
                  <a:gd name="T60" fmla="*/ 143 w 420"/>
                  <a:gd name="T61" fmla="*/ 500 h 797"/>
                  <a:gd name="T62" fmla="*/ 156 w 420"/>
                  <a:gd name="T63" fmla="*/ 464 h 797"/>
                  <a:gd name="T64" fmla="*/ 144 w 420"/>
                  <a:gd name="T65" fmla="*/ 429 h 797"/>
                  <a:gd name="T66" fmla="*/ 117 w 420"/>
                  <a:gd name="T67" fmla="*/ 395 h 797"/>
                  <a:gd name="T68" fmla="*/ 104 w 420"/>
                  <a:gd name="T69" fmla="*/ 347 h 797"/>
                  <a:gd name="T70" fmla="*/ 93 w 420"/>
                  <a:gd name="T71" fmla="*/ 291 h 797"/>
                  <a:gd name="T72" fmla="*/ 73 w 420"/>
                  <a:gd name="T73" fmla="*/ 249 h 797"/>
                  <a:gd name="T74" fmla="*/ 42 w 420"/>
                  <a:gd name="T75" fmla="*/ 220 h 797"/>
                  <a:gd name="T76" fmla="*/ 24 w 420"/>
                  <a:gd name="T77" fmla="*/ 178 h 797"/>
                  <a:gd name="T78" fmla="*/ 12 w 420"/>
                  <a:gd name="T79" fmla="*/ 132 h 797"/>
                  <a:gd name="T80" fmla="*/ 0 w 420"/>
                  <a:gd name="T81" fmla="*/ 91 h 797"/>
                  <a:gd name="T82" fmla="*/ 29 w 420"/>
                  <a:gd name="T83" fmla="*/ 66 h 797"/>
                  <a:gd name="T84" fmla="*/ 66 w 420"/>
                  <a:gd name="T85" fmla="*/ 61 h 797"/>
                  <a:gd name="T86" fmla="*/ 78 w 420"/>
                  <a:gd name="T87" fmla="*/ 93 h 797"/>
                  <a:gd name="T88" fmla="*/ 112 w 420"/>
                  <a:gd name="T89" fmla="*/ 86 h 797"/>
                  <a:gd name="T90" fmla="*/ 138 w 420"/>
                  <a:gd name="T91" fmla="*/ 76 h 797"/>
                  <a:gd name="T92" fmla="*/ 158 w 420"/>
                  <a:gd name="T93" fmla="*/ 76 h 797"/>
                  <a:gd name="T94" fmla="*/ 168 w 420"/>
                  <a:gd name="T95" fmla="*/ 37 h 797"/>
                  <a:gd name="T96" fmla="*/ 173 w 420"/>
                  <a:gd name="T97" fmla="*/ 1 h 797"/>
                  <a:gd name="T98" fmla="*/ 213 w 420"/>
                  <a:gd name="T99" fmla="*/ 1 h 797"/>
                  <a:gd name="T100" fmla="*/ 226 w 420"/>
                  <a:gd name="T101" fmla="*/ 15 h 797"/>
                  <a:gd name="T102" fmla="*/ 233 w 420"/>
                  <a:gd name="T103" fmla="*/ 54 h 797"/>
                  <a:gd name="T104" fmla="*/ 213 w 420"/>
                  <a:gd name="T105" fmla="*/ 96 h 797"/>
                  <a:gd name="T106" fmla="*/ 206 w 420"/>
                  <a:gd name="T107" fmla="*/ 139 h 797"/>
                  <a:gd name="T108" fmla="*/ 228 w 420"/>
                  <a:gd name="T109" fmla="*/ 173 h 797"/>
                  <a:gd name="T110" fmla="*/ 269 w 420"/>
                  <a:gd name="T111" fmla="*/ 178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20" h="797">
                    <a:moveTo>
                      <a:pt x="304" y="195"/>
                    </a:moveTo>
                    <a:lnTo>
                      <a:pt x="308" y="198"/>
                    </a:lnTo>
                    <a:lnTo>
                      <a:pt x="311" y="200"/>
                    </a:lnTo>
                    <a:lnTo>
                      <a:pt x="315" y="203"/>
                    </a:lnTo>
                    <a:lnTo>
                      <a:pt x="318" y="205"/>
                    </a:lnTo>
                    <a:lnTo>
                      <a:pt x="323" y="207"/>
                    </a:lnTo>
                    <a:lnTo>
                      <a:pt x="327" y="208"/>
                    </a:lnTo>
                    <a:lnTo>
                      <a:pt x="330" y="210"/>
                    </a:lnTo>
                    <a:lnTo>
                      <a:pt x="335" y="212"/>
                    </a:lnTo>
                    <a:lnTo>
                      <a:pt x="338" y="215"/>
                    </a:lnTo>
                    <a:lnTo>
                      <a:pt x="344" y="215"/>
                    </a:lnTo>
                    <a:lnTo>
                      <a:pt x="349" y="217"/>
                    </a:lnTo>
                    <a:lnTo>
                      <a:pt x="352" y="217"/>
                    </a:lnTo>
                    <a:lnTo>
                      <a:pt x="359" y="218"/>
                    </a:lnTo>
                    <a:lnTo>
                      <a:pt x="361" y="222"/>
                    </a:lnTo>
                    <a:lnTo>
                      <a:pt x="362" y="227"/>
                    </a:lnTo>
                    <a:lnTo>
                      <a:pt x="366" y="232"/>
                    </a:lnTo>
                    <a:lnTo>
                      <a:pt x="372" y="235"/>
                    </a:lnTo>
                    <a:lnTo>
                      <a:pt x="376" y="239"/>
                    </a:lnTo>
                    <a:lnTo>
                      <a:pt x="379" y="240"/>
                    </a:lnTo>
                    <a:lnTo>
                      <a:pt x="383" y="240"/>
                    </a:lnTo>
                    <a:lnTo>
                      <a:pt x="386" y="242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5" y="249"/>
                    </a:lnTo>
                    <a:lnTo>
                      <a:pt x="393" y="252"/>
                    </a:lnTo>
                    <a:lnTo>
                      <a:pt x="393" y="257"/>
                    </a:lnTo>
                    <a:lnTo>
                      <a:pt x="391" y="262"/>
                    </a:lnTo>
                    <a:lnTo>
                      <a:pt x="389" y="269"/>
                    </a:lnTo>
                    <a:lnTo>
                      <a:pt x="388" y="273"/>
                    </a:lnTo>
                    <a:lnTo>
                      <a:pt x="386" y="278"/>
                    </a:lnTo>
                    <a:lnTo>
                      <a:pt x="388" y="283"/>
                    </a:lnTo>
                    <a:lnTo>
                      <a:pt x="388" y="286"/>
                    </a:lnTo>
                    <a:lnTo>
                      <a:pt x="388" y="291"/>
                    </a:lnTo>
                    <a:lnTo>
                      <a:pt x="388" y="295"/>
                    </a:lnTo>
                    <a:lnTo>
                      <a:pt x="389" y="300"/>
                    </a:lnTo>
                    <a:lnTo>
                      <a:pt x="393" y="303"/>
                    </a:lnTo>
                    <a:lnTo>
                      <a:pt x="396" y="307"/>
                    </a:lnTo>
                    <a:lnTo>
                      <a:pt x="400" y="310"/>
                    </a:lnTo>
                    <a:lnTo>
                      <a:pt x="401" y="315"/>
                    </a:lnTo>
                    <a:lnTo>
                      <a:pt x="398" y="322"/>
                    </a:lnTo>
                    <a:lnTo>
                      <a:pt x="396" y="330"/>
                    </a:lnTo>
                    <a:lnTo>
                      <a:pt x="395" y="334"/>
                    </a:lnTo>
                    <a:lnTo>
                      <a:pt x="393" y="337"/>
                    </a:lnTo>
                    <a:lnTo>
                      <a:pt x="393" y="340"/>
                    </a:lnTo>
                    <a:lnTo>
                      <a:pt x="393" y="346"/>
                    </a:lnTo>
                    <a:lnTo>
                      <a:pt x="393" y="351"/>
                    </a:lnTo>
                    <a:lnTo>
                      <a:pt x="396" y="354"/>
                    </a:lnTo>
                    <a:lnTo>
                      <a:pt x="401" y="356"/>
                    </a:lnTo>
                    <a:lnTo>
                      <a:pt x="398" y="352"/>
                    </a:lnTo>
                    <a:lnTo>
                      <a:pt x="403" y="357"/>
                    </a:lnTo>
                    <a:lnTo>
                      <a:pt x="400" y="361"/>
                    </a:lnTo>
                    <a:lnTo>
                      <a:pt x="401" y="364"/>
                    </a:lnTo>
                    <a:lnTo>
                      <a:pt x="406" y="369"/>
                    </a:lnTo>
                    <a:lnTo>
                      <a:pt x="413" y="373"/>
                    </a:lnTo>
                    <a:lnTo>
                      <a:pt x="420" y="374"/>
                    </a:lnTo>
                    <a:lnTo>
                      <a:pt x="417" y="380"/>
                    </a:lnTo>
                    <a:lnTo>
                      <a:pt x="413" y="383"/>
                    </a:lnTo>
                    <a:lnTo>
                      <a:pt x="412" y="386"/>
                    </a:lnTo>
                    <a:lnTo>
                      <a:pt x="412" y="391"/>
                    </a:lnTo>
                    <a:lnTo>
                      <a:pt x="412" y="395"/>
                    </a:lnTo>
                    <a:lnTo>
                      <a:pt x="415" y="400"/>
                    </a:lnTo>
                    <a:lnTo>
                      <a:pt x="412" y="403"/>
                    </a:lnTo>
                    <a:lnTo>
                      <a:pt x="406" y="408"/>
                    </a:lnTo>
                    <a:lnTo>
                      <a:pt x="405" y="412"/>
                    </a:lnTo>
                    <a:lnTo>
                      <a:pt x="401" y="415"/>
                    </a:lnTo>
                    <a:lnTo>
                      <a:pt x="398" y="419"/>
                    </a:lnTo>
                    <a:lnTo>
                      <a:pt x="396" y="422"/>
                    </a:lnTo>
                    <a:lnTo>
                      <a:pt x="395" y="419"/>
                    </a:lnTo>
                    <a:lnTo>
                      <a:pt x="386" y="415"/>
                    </a:lnTo>
                    <a:lnTo>
                      <a:pt x="383" y="415"/>
                    </a:lnTo>
                    <a:lnTo>
                      <a:pt x="379" y="417"/>
                    </a:lnTo>
                    <a:lnTo>
                      <a:pt x="378" y="420"/>
                    </a:lnTo>
                    <a:lnTo>
                      <a:pt x="372" y="419"/>
                    </a:lnTo>
                    <a:lnTo>
                      <a:pt x="369" y="415"/>
                    </a:lnTo>
                    <a:lnTo>
                      <a:pt x="366" y="412"/>
                    </a:lnTo>
                    <a:lnTo>
                      <a:pt x="359" y="412"/>
                    </a:lnTo>
                    <a:lnTo>
                      <a:pt x="347" y="415"/>
                    </a:lnTo>
                    <a:lnTo>
                      <a:pt x="340" y="417"/>
                    </a:lnTo>
                    <a:lnTo>
                      <a:pt x="335" y="419"/>
                    </a:lnTo>
                    <a:lnTo>
                      <a:pt x="328" y="420"/>
                    </a:lnTo>
                    <a:lnTo>
                      <a:pt x="325" y="422"/>
                    </a:lnTo>
                    <a:lnTo>
                      <a:pt x="321" y="424"/>
                    </a:lnTo>
                    <a:lnTo>
                      <a:pt x="316" y="425"/>
                    </a:lnTo>
                    <a:lnTo>
                      <a:pt x="311" y="429"/>
                    </a:lnTo>
                    <a:lnTo>
                      <a:pt x="308" y="430"/>
                    </a:lnTo>
                    <a:lnTo>
                      <a:pt x="301" y="435"/>
                    </a:lnTo>
                    <a:lnTo>
                      <a:pt x="296" y="439"/>
                    </a:lnTo>
                    <a:lnTo>
                      <a:pt x="291" y="444"/>
                    </a:lnTo>
                    <a:lnTo>
                      <a:pt x="284" y="449"/>
                    </a:lnTo>
                    <a:lnTo>
                      <a:pt x="281" y="452"/>
                    </a:lnTo>
                    <a:lnTo>
                      <a:pt x="277" y="456"/>
                    </a:lnTo>
                    <a:lnTo>
                      <a:pt x="272" y="458"/>
                    </a:lnTo>
                    <a:lnTo>
                      <a:pt x="269" y="459"/>
                    </a:lnTo>
                    <a:lnTo>
                      <a:pt x="265" y="463"/>
                    </a:lnTo>
                    <a:lnTo>
                      <a:pt x="264" y="466"/>
                    </a:lnTo>
                    <a:lnTo>
                      <a:pt x="262" y="469"/>
                    </a:lnTo>
                    <a:lnTo>
                      <a:pt x="258" y="473"/>
                    </a:lnTo>
                    <a:lnTo>
                      <a:pt x="255" y="480"/>
                    </a:lnTo>
                    <a:lnTo>
                      <a:pt x="255" y="483"/>
                    </a:lnTo>
                    <a:lnTo>
                      <a:pt x="253" y="486"/>
                    </a:lnTo>
                    <a:lnTo>
                      <a:pt x="253" y="490"/>
                    </a:lnTo>
                    <a:lnTo>
                      <a:pt x="250" y="495"/>
                    </a:lnTo>
                    <a:lnTo>
                      <a:pt x="248" y="498"/>
                    </a:lnTo>
                    <a:lnTo>
                      <a:pt x="247" y="502"/>
                    </a:lnTo>
                    <a:lnTo>
                      <a:pt x="250" y="507"/>
                    </a:lnTo>
                    <a:lnTo>
                      <a:pt x="253" y="510"/>
                    </a:lnTo>
                    <a:lnTo>
                      <a:pt x="253" y="515"/>
                    </a:lnTo>
                    <a:lnTo>
                      <a:pt x="255" y="520"/>
                    </a:lnTo>
                    <a:lnTo>
                      <a:pt x="255" y="525"/>
                    </a:lnTo>
                    <a:lnTo>
                      <a:pt x="257" y="532"/>
                    </a:lnTo>
                    <a:lnTo>
                      <a:pt x="258" y="536"/>
                    </a:lnTo>
                    <a:lnTo>
                      <a:pt x="260" y="539"/>
                    </a:lnTo>
                    <a:lnTo>
                      <a:pt x="260" y="544"/>
                    </a:lnTo>
                    <a:lnTo>
                      <a:pt x="260" y="549"/>
                    </a:lnTo>
                    <a:lnTo>
                      <a:pt x="262" y="554"/>
                    </a:lnTo>
                    <a:lnTo>
                      <a:pt x="262" y="558"/>
                    </a:lnTo>
                    <a:lnTo>
                      <a:pt x="262" y="563"/>
                    </a:lnTo>
                    <a:lnTo>
                      <a:pt x="264" y="569"/>
                    </a:lnTo>
                    <a:lnTo>
                      <a:pt x="265" y="573"/>
                    </a:lnTo>
                    <a:lnTo>
                      <a:pt x="267" y="578"/>
                    </a:lnTo>
                    <a:lnTo>
                      <a:pt x="267" y="585"/>
                    </a:lnTo>
                    <a:lnTo>
                      <a:pt x="267" y="590"/>
                    </a:lnTo>
                    <a:lnTo>
                      <a:pt x="267" y="595"/>
                    </a:lnTo>
                    <a:lnTo>
                      <a:pt x="265" y="598"/>
                    </a:lnTo>
                    <a:lnTo>
                      <a:pt x="264" y="603"/>
                    </a:lnTo>
                    <a:lnTo>
                      <a:pt x="260" y="608"/>
                    </a:lnTo>
                    <a:lnTo>
                      <a:pt x="257" y="612"/>
                    </a:lnTo>
                    <a:lnTo>
                      <a:pt x="253" y="617"/>
                    </a:lnTo>
                    <a:lnTo>
                      <a:pt x="250" y="622"/>
                    </a:lnTo>
                    <a:lnTo>
                      <a:pt x="247" y="625"/>
                    </a:lnTo>
                    <a:lnTo>
                      <a:pt x="243" y="629"/>
                    </a:lnTo>
                    <a:lnTo>
                      <a:pt x="240" y="634"/>
                    </a:lnTo>
                    <a:lnTo>
                      <a:pt x="235" y="636"/>
                    </a:lnTo>
                    <a:lnTo>
                      <a:pt x="231" y="637"/>
                    </a:lnTo>
                    <a:lnTo>
                      <a:pt x="226" y="639"/>
                    </a:lnTo>
                    <a:lnTo>
                      <a:pt x="223" y="641"/>
                    </a:lnTo>
                    <a:lnTo>
                      <a:pt x="216" y="644"/>
                    </a:lnTo>
                    <a:lnTo>
                      <a:pt x="213" y="646"/>
                    </a:lnTo>
                    <a:lnTo>
                      <a:pt x="209" y="647"/>
                    </a:lnTo>
                    <a:lnTo>
                      <a:pt x="204" y="649"/>
                    </a:lnTo>
                    <a:lnTo>
                      <a:pt x="199" y="654"/>
                    </a:lnTo>
                    <a:lnTo>
                      <a:pt x="197" y="658"/>
                    </a:lnTo>
                    <a:lnTo>
                      <a:pt x="196" y="663"/>
                    </a:lnTo>
                    <a:lnTo>
                      <a:pt x="192" y="666"/>
                    </a:lnTo>
                    <a:lnTo>
                      <a:pt x="190" y="670"/>
                    </a:lnTo>
                    <a:lnTo>
                      <a:pt x="189" y="673"/>
                    </a:lnTo>
                    <a:lnTo>
                      <a:pt x="184" y="680"/>
                    </a:lnTo>
                    <a:lnTo>
                      <a:pt x="182" y="683"/>
                    </a:lnTo>
                    <a:lnTo>
                      <a:pt x="179" y="688"/>
                    </a:lnTo>
                    <a:lnTo>
                      <a:pt x="175" y="692"/>
                    </a:lnTo>
                    <a:lnTo>
                      <a:pt x="173" y="695"/>
                    </a:lnTo>
                    <a:lnTo>
                      <a:pt x="170" y="700"/>
                    </a:lnTo>
                    <a:lnTo>
                      <a:pt x="167" y="703"/>
                    </a:lnTo>
                    <a:lnTo>
                      <a:pt x="165" y="707"/>
                    </a:lnTo>
                    <a:lnTo>
                      <a:pt x="161" y="710"/>
                    </a:lnTo>
                    <a:lnTo>
                      <a:pt x="160" y="714"/>
                    </a:lnTo>
                    <a:lnTo>
                      <a:pt x="160" y="720"/>
                    </a:lnTo>
                    <a:lnTo>
                      <a:pt x="160" y="724"/>
                    </a:lnTo>
                    <a:lnTo>
                      <a:pt x="160" y="729"/>
                    </a:lnTo>
                    <a:lnTo>
                      <a:pt x="158" y="732"/>
                    </a:lnTo>
                    <a:lnTo>
                      <a:pt x="158" y="737"/>
                    </a:lnTo>
                    <a:lnTo>
                      <a:pt x="158" y="744"/>
                    </a:lnTo>
                    <a:lnTo>
                      <a:pt x="158" y="748"/>
                    </a:lnTo>
                    <a:lnTo>
                      <a:pt x="156" y="753"/>
                    </a:lnTo>
                    <a:lnTo>
                      <a:pt x="155" y="756"/>
                    </a:lnTo>
                    <a:lnTo>
                      <a:pt x="153" y="759"/>
                    </a:lnTo>
                    <a:lnTo>
                      <a:pt x="151" y="768"/>
                    </a:lnTo>
                    <a:lnTo>
                      <a:pt x="150" y="771"/>
                    </a:lnTo>
                    <a:lnTo>
                      <a:pt x="146" y="776"/>
                    </a:lnTo>
                    <a:lnTo>
                      <a:pt x="143" y="781"/>
                    </a:lnTo>
                    <a:lnTo>
                      <a:pt x="139" y="787"/>
                    </a:lnTo>
                    <a:lnTo>
                      <a:pt x="134" y="788"/>
                    </a:lnTo>
                    <a:lnTo>
                      <a:pt x="131" y="788"/>
                    </a:lnTo>
                    <a:lnTo>
                      <a:pt x="126" y="790"/>
                    </a:lnTo>
                    <a:lnTo>
                      <a:pt x="122" y="792"/>
                    </a:lnTo>
                    <a:lnTo>
                      <a:pt x="117" y="792"/>
                    </a:lnTo>
                    <a:lnTo>
                      <a:pt x="114" y="792"/>
                    </a:lnTo>
                    <a:lnTo>
                      <a:pt x="109" y="792"/>
                    </a:lnTo>
                    <a:lnTo>
                      <a:pt x="105" y="792"/>
                    </a:lnTo>
                    <a:lnTo>
                      <a:pt x="102" y="790"/>
                    </a:lnTo>
                    <a:lnTo>
                      <a:pt x="99" y="790"/>
                    </a:lnTo>
                    <a:lnTo>
                      <a:pt x="93" y="790"/>
                    </a:lnTo>
                    <a:lnTo>
                      <a:pt x="88" y="792"/>
                    </a:lnTo>
                    <a:lnTo>
                      <a:pt x="80" y="793"/>
                    </a:lnTo>
                    <a:lnTo>
                      <a:pt x="76" y="795"/>
                    </a:lnTo>
                    <a:lnTo>
                      <a:pt x="73" y="795"/>
                    </a:lnTo>
                    <a:lnTo>
                      <a:pt x="68" y="795"/>
                    </a:lnTo>
                    <a:lnTo>
                      <a:pt x="65" y="795"/>
                    </a:lnTo>
                    <a:lnTo>
                      <a:pt x="59" y="797"/>
                    </a:lnTo>
                    <a:lnTo>
                      <a:pt x="54" y="797"/>
                    </a:lnTo>
                    <a:lnTo>
                      <a:pt x="51" y="795"/>
                    </a:lnTo>
                    <a:lnTo>
                      <a:pt x="46" y="795"/>
                    </a:lnTo>
                    <a:lnTo>
                      <a:pt x="42" y="792"/>
                    </a:lnTo>
                    <a:lnTo>
                      <a:pt x="36" y="788"/>
                    </a:lnTo>
                    <a:lnTo>
                      <a:pt x="32" y="787"/>
                    </a:lnTo>
                    <a:lnTo>
                      <a:pt x="25" y="780"/>
                    </a:lnTo>
                    <a:lnTo>
                      <a:pt x="22" y="776"/>
                    </a:lnTo>
                    <a:lnTo>
                      <a:pt x="19" y="771"/>
                    </a:lnTo>
                    <a:lnTo>
                      <a:pt x="17" y="768"/>
                    </a:lnTo>
                    <a:lnTo>
                      <a:pt x="15" y="764"/>
                    </a:lnTo>
                    <a:lnTo>
                      <a:pt x="20" y="761"/>
                    </a:lnTo>
                    <a:lnTo>
                      <a:pt x="22" y="756"/>
                    </a:lnTo>
                    <a:lnTo>
                      <a:pt x="19" y="751"/>
                    </a:lnTo>
                    <a:lnTo>
                      <a:pt x="20" y="748"/>
                    </a:lnTo>
                    <a:lnTo>
                      <a:pt x="15" y="744"/>
                    </a:lnTo>
                    <a:lnTo>
                      <a:pt x="13" y="741"/>
                    </a:lnTo>
                    <a:lnTo>
                      <a:pt x="12" y="737"/>
                    </a:lnTo>
                    <a:lnTo>
                      <a:pt x="13" y="734"/>
                    </a:lnTo>
                    <a:lnTo>
                      <a:pt x="19" y="727"/>
                    </a:lnTo>
                    <a:lnTo>
                      <a:pt x="19" y="724"/>
                    </a:lnTo>
                    <a:lnTo>
                      <a:pt x="19" y="717"/>
                    </a:lnTo>
                    <a:lnTo>
                      <a:pt x="15" y="712"/>
                    </a:lnTo>
                    <a:lnTo>
                      <a:pt x="13" y="707"/>
                    </a:lnTo>
                    <a:lnTo>
                      <a:pt x="12" y="703"/>
                    </a:lnTo>
                    <a:lnTo>
                      <a:pt x="12" y="698"/>
                    </a:lnTo>
                    <a:lnTo>
                      <a:pt x="10" y="695"/>
                    </a:lnTo>
                    <a:lnTo>
                      <a:pt x="10" y="690"/>
                    </a:lnTo>
                    <a:lnTo>
                      <a:pt x="15" y="686"/>
                    </a:lnTo>
                    <a:lnTo>
                      <a:pt x="19" y="686"/>
                    </a:lnTo>
                    <a:lnTo>
                      <a:pt x="24" y="683"/>
                    </a:lnTo>
                    <a:lnTo>
                      <a:pt x="29" y="680"/>
                    </a:lnTo>
                    <a:lnTo>
                      <a:pt x="34" y="680"/>
                    </a:lnTo>
                    <a:lnTo>
                      <a:pt x="37" y="680"/>
                    </a:lnTo>
                    <a:lnTo>
                      <a:pt x="42" y="678"/>
                    </a:lnTo>
                    <a:lnTo>
                      <a:pt x="48" y="673"/>
                    </a:lnTo>
                    <a:lnTo>
                      <a:pt x="53" y="670"/>
                    </a:lnTo>
                    <a:lnTo>
                      <a:pt x="58" y="664"/>
                    </a:lnTo>
                    <a:lnTo>
                      <a:pt x="59" y="659"/>
                    </a:lnTo>
                    <a:lnTo>
                      <a:pt x="61" y="656"/>
                    </a:lnTo>
                    <a:lnTo>
                      <a:pt x="63" y="653"/>
                    </a:lnTo>
                    <a:lnTo>
                      <a:pt x="61" y="649"/>
                    </a:lnTo>
                    <a:lnTo>
                      <a:pt x="63" y="644"/>
                    </a:lnTo>
                    <a:lnTo>
                      <a:pt x="65" y="639"/>
                    </a:lnTo>
                    <a:lnTo>
                      <a:pt x="68" y="632"/>
                    </a:lnTo>
                    <a:lnTo>
                      <a:pt x="70" y="629"/>
                    </a:lnTo>
                    <a:lnTo>
                      <a:pt x="70" y="625"/>
                    </a:lnTo>
                    <a:lnTo>
                      <a:pt x="71" y="620"/>
                    </a:lnTo>
                    <a:lnTo>
                      <a:pt x="73" y="615"/>
                    </a:lnTo>
                    <a:lnTo>
                      <a:pt x="76" y="612"/>
                    </a:lnTo>
                    <a:lnTo>
                      <a:pt x="78" y="607"/>
                    </a:lnTo>
                    <a:lnTo>
                      <a:pt x="80" y="600"/>
                    </a:lnTo>
                    <a:lnTo>
                      <a:pt x="80" y="597"/>
                    </a:lnTo>
                    <a:lnTo>
                      <a:pt x="82" y="590"/>
                    </a:lnTo>
                    <a:lnTo>
                      <a:pt x="83" y="586"/>
                    </a:lnTo>
                    <a:lnTo>
                      <a:pt x="83" y="583"/>
                    </a:lnTo>
                    <a:lnTo>
                      <a:pt x="83" y="580"/>
                    </a:lnTo>
                    <a:lnTo>
                      <a:pt x="85" y="576"/>
                    </a:lnTo>
                    <a:lnTo>
                      <a:pt x="85" y="571"/>
                    </a:lnTo>
                    <a:lnTo>
                      <a:pt x="80" y="569"/>
                    </a:lnTo>
                    <a:lnTo>
                      <a:pt x="76" y="566"/>
                    </a:lnTo>
                    <a:lnTo>
                      <a:pt x="73" y="563"/>
                    </a:lnTo>
                    <a:lnTo>
                      <a:pt x="66" y="558"/>
                    </a:lnTo>
                    <a:lnTo>
                      <a:pt x="63" y="554"/>
                    </a:lnTo>
                    <a:lnTo>
                      <a:pt x="59" y="551"/>
                    </a:lnTo>
                    <a:lnTo>
                      <a:pt x="56" y="549"/>
                    </a:lnTo>
                    <a:lnTo>
                      <a:pt x="56" y="539"/>
                    </a:lnTo>
                    <a:lnTo>
                      <a:pt x="59" y="534"/>
                    </a:lnTo>
                    <a:lnTo>
                      <a:pt x="63" y="532"/>
                    </a:lnTo>
                    <a:lnTo>
                      <a:pt x="66" y="529"/>
                    </a:lnTo>
                    <a:lnTo>
                      <a:pt x="71" y="527"/>
                    </a:lnTo>
                    <a:lnTo>
                      <a:pt x="75" y="525"/>
                    </a:lnTo>
                    <a:lnTo>
                      <a:pt x="82" y="522"/>
                    </a:lnTo>
                    <a:lnTo>
                      <a:pt x="85" y="520"/>
                    </a:lnTo>
                    <a:lnTo>
                      <a:pt x="88" y="517"/>
                    </a:lnTo>
                    <a:lnTo>
                      <a:pt x="90" y="513"/>
                    </a:lnTo>
                    <a:lnTo>
                      <a:pt x="93" y="510"/>
                    </a:lnTo>
                    <a:lnTo>
                      <a:pt x="97" y="508"/>
                    </a:lnTo>
                    <a:lnTo>
                      <a:pt x="104" y="507"/>
                    </a:lnTo>
                    <a:lnTo>
                      <a:pt x="107" y="507"/>
                    </a:lnTo>
                    <a:lnTo>
                      <a:pt x="110" y="507"/>
                    </a:lnTo>
                    <a:lnTo>
                      <a:pt x="114" y="508"/>
                    </a:lnTo>
                    <a:lnTo>
                      <a:pt x="119" y="508"/>
                    </a:lnTo>
                    <a:lnTo>
                      <a:pt x="124" y="510"/>
                    </a:lnTo>
                    <a:lnTo>
                      <a:pt x="127" y="510"/>
                    </a:lnTo>
                    <a:lnTo>
                      <a:pt x="133" y="508"/>
                    </a:lnTo>
                    <a:lnTo>
                      <a:pt x="136" y="508"/>
                    </a:lnTo>
                    <a:lnTo>
                      <a:pt x="141" y="503"/>
                    </a:lnTo>
                    <a:lnTo>
                      <a:pt x="143" y="500"/>
                    </a:lnTo>
                    <a:lnTo>
                      <a:pt x="146" y="498"/>
                    </a:lnTo>
                    <a:lnTo>
                      <a:pt x="150" y="493"/>
                    </a:lnTo>
                    <a:lnTo>
                      <a:pt x="151" y="490"/>
                    </a:lnTo>
                    <a:lnTo>
                      <a:pt x="151" y="486"/>
                    </a:lnTo>
                    <a:lnTo>
                      <a:pt x="153" y="481"/>
                    </a:lnTo>
                    <a:lnTo>
                      <a:pt x="155" y="476"/>
                    </a:lnTo>
                    <a:lnTo>
                      <a:pt x="155" y="473"/>
                    </a:lnTo>
                    <a:lnTo>
                      <a:pt x="156" y="469"/>
                    </a:lnTo>
                    <a:lnTo>
                      <a:pt x="156" y="464"/>
                    </a:lnTo>
                    <a:lnTo>
                      <a:pt x="156" y="461"/>
                    </a:lnTo>
                    <a:lnTo>
                      <a:pt x="156" y="456"/>
                    </a:lnTo>
                    <a:lnTo>
                      <a:pt x="155" y="451"/>
                    </a:lnTo>
                    <a:lnTo>
                      <a:pt x="155" y="442"/>
                    </a:lnTo>
                    <a:lnTo>
                      <a:pt x="155" y="439"/>
                    </a:lnTo>
                    <a:lnTo>
                      <a:pt x="155" y="435"/>
                    </a:lnTo>
                    <a:lnTo>
                      <a:pt x="151" y="432"/>
                    </a:lnTo>
                    <a:lnTo>
                      <a:pt x="148" y="432"/>
                    </a:lnTo>
                    <a:lnTo>
                      <a:pt x="144" y="429"/>
                    </a:lnTo>
                    <a:lnTo>
                      <a:pt x="141" y="427"/>
                    </a:lnTo>
                    <a:lnTo>
                      <a:pt x="138" y="425"/>
                    </a:lnTo>
                    <a:lnTo>
                      <a:pt x="134" y="422"/>
                    </a:lnTo>
                    <a:lnTo>
                      <a:pt x="133" y="419"/>
                    </a:lnTo>
                    <a:lnTo>
                      <a:pt x="129" y="413"/>
                    </a:lnTo>
                    <a:lnTo>
                      <a:pt x="127" y="408"/>
                    </a:lnTo>
                    <a:lnTo>
                      <a:pt x="124" y="405"/>
                    </a:lnTo>
                    <a:lnTo>
                      <a:pt x="119" y="400"/>
                    </a:lnTo>
                    <a:lnTo>
                      <a:pt x="117" y="395"/>
                    </a:lnTo>
                    <a:lnTo>
                      <a:pt x="112" y="381"/>
                    </a:lnTo>
                    <a:lnTo>
                      <a:pt x="112" y="378"/>
                    </a:lnTo>
                    <a:lnTo>
                      <a:pt x="110" y="373"/>
                    </a:lnTo>
                    <a:lnTo>
                      <a:pt x="109" y="369"/>
                    </a:lnTo>
                    <a:lnTo>
                      <a:pt x="107" y="366"/>
                    </a:lnTo>
                    <a:lnTo>
                      <a:pt x="105" y="363"/>
                    </a:lnTo>
                    <a:lnTo>
                      <a:pt x="105" y="359"/>
                    </a:lnTo>
                    <a:lnTo>
                      <a:pt x="104" y="354"/>
                    </a:lnTo>
                    <a:lnTo>
                      <a:pt x="104" y="347"/>
                    </a:lnTo>
                    <a:lnTo>
                      <a:pt x="104" y="340"/>
                    </a:lnTo>
                    <a:lnTo>
                      <a:pt x="102" y="334"/>
                    </a:lnTo>
                    <a:lnTo>
                      <a:pt x="100" y="327"/>
                    </a:lnTo>
                    <a:lnTo>
                      <a:pt x="100" y="320"/>
                    </a:lnTo>
                    <a:lnTo>
                      <a:pt x="99" y="312"/>
                    </a:lnTo>
                    <a:lnTo>
                      <a:pt x="97" y="305"/>
                    </a:lnTo>
                    <a:lnTo>
                      <a:pt x="95" y="300"/>
                    </a:lnTo>
                    <a:lnTo>
                      <a:pt x="93" y="296"/>
                    </a:lnTo>
                    <a:lnTo>
                      <a:pt x="93" y="291"/>
                    </a:lnTo>
                    <a:lnTo>
                      <a:pt x="90" y="286"/>
                    </a:lnTo>
                    <a:lnTo>
                      <a:pt x="88" y="281"/>
                    </a:lnTo>
                    <a:lnTo>
                      <a:pt x="87" y="276"/>
                    </a:lnTo>
                    <a:lnTo>
                      <a:pt x="85" y="271"/>
                    </a:lnTo>
                    <a:lnTo>
                      <a:pt x="83" y="266"/>
                    </a:lnTo>
                    <a:lnTo>
                      <a:pt x="80" y="262"/>
                    </a:lnTo>
                    <a:lnTo>
                      <a:pt x="80" y="257"/>
                    </a:lnTo>
                    <a:lnTo>
                      <a:pt x="76" y="254"/>
                    </a:lnTo>
                    <a:lnTo>
                      <a:pt x="73" y="249"/>
                    </a:lnTo>
                    <a:lnTo>
                      <a:pt x="68" y="246"/>
                    </a:lnTo>
                    <a:lnTo>
                      <a:pt x="66" y="240"/>
                    </a:lnTo>
                    <a:lnTo>
                      <a:pt x="63" y="237"/>
                    </a:lnTo>
                    <a:lnTo>
                      <a:pt x="61" y="234"/>
                    </a:lnTo>
                    <a:lnTo>
                      <a:pt x="58" y="229"/>
                    </a:lnTo>
                    <a:lnTo>
                      <a:pt x="54" y="227"/>
                    </a:lnTo>
                    <a:lnTo>
                      <a:pt x="49" y="225"/>
                    </a:lnTo>
                    <a:lnTo>
                      <a:pt x="46" y="223"/>
                    </a:lnTo>
                    <a:lnTo>
                      <a:pt x="42" y="220"/>
                    </a:lnTo>
                    <a:lnTo>
                      <a:pt x="41" y="217"/>
                    </a:lnTo>
                    <a:lnTo>
                      <a:pt x="39" y="212"/>
                    </a:lnTo>
                    <a:lnTo>
                      <a:pt x="37" y="208"/>
                    </a:lnTo>
                    <a:lnTo>
                      <a:pt x="37" y="205"/>
                    </a:lnTo>
                    <a:lnTo>
                      <a:pt x="34" y="196"/>
                    </a:lnTo>
                    <a:lnTo>
                      <a:pt x="32" y="193"/>
                    </a:lnTo>
                    <a:lnTo>
                      <a:pt x="29" y="186"/>
                    </a:lnTo>
                    <a:lnTo>
                      <a:pt x="27" y="181"/>
                    </a:lnTo>
                    <a:lnTo>
                      <a:pt x="24" y="178"/>
                    </a:lnTo>
                    <a:lnTo>
                      <a:pt x="22" y="171"/>
                    </a:lnTo>
                    <a:lnTo>
                      <a:pt x="20" y="166"/>
                    </a:lnTo>
                    <a:lnTo>
                      <a:pt x="19" y="162"/>
                    </a:lnTo>
                    <a:lnTo>
                      <a:pt x="19" y="159"/>
                    </a:lnTo>
                    <a:lnTo>
                      <a:pt x="19" y="154"/>
                    </a:lnTo>
                    <a:lnTo>
                      <a:pt x="15" y="147"/>
                    </a:lnTo>
                    <a:lnTo>
                      <a:pt x="15" y="144"/>
                    </a:lnTo>
                    <a:lnTo>
                      <a:pt x="13" y="139"/>
                    </a:lnTo>
                    <a:lnTo>
                      <a:pt x="12" y="132"/>
                    </a:lnTo>
                    <a:lnTo>
                      <a:pt x="10" y="129"/>
                    </a:lnTo>
                    <a:lnTo>
                      <a:pt x="8" y="123"/>
                    </a:lnTo>
                    <a:lnTo>
                      <a:pt x="7" y="120"/>
                    </a:lnTo>
                    <a:lnTo>
                      <a:pt x="10" y="118"/>
                    </a:lnTo>
                    <a:lnTo>
                      <a:pt x="12" y="113"/>
                    </a:lnTo>
                    <a:lnTo>
                      <a:pt x="8" y="106"/>
                    </a:lnTo>
                    <a:lnTo>
                      <a:pt x="7" y="103"/>
                    </a:lnTo>
                    <a:lnTo>
                      <a:pt x="3" y="96"/>
                    </a:lnTo>
                    <a:lnTo>
                      <a:pt x="0" y="91"/>
                    </a:lnTo>
                    <a:lnTo>
                      <a:pt x="3" y="83"/>
                    </a:lnTo>
                    <a:lnTo>
                      <a:pt x="3" y="79"/>
                    </a:lnTo>
                    <a:lnTo>
                      <a:pt x="5" y="76"/>
                    </a:lnTo>
                    <a:lnTo>
                      <a:pt x="8" y="74"/>
                    </a:lnTo>
                    <a:lnTo>
                      <a:pt x="12" y="67"/>
                    </a:lnTo>
                    <a:lnTo>
                      <a:pt x="15" y="64"/>
                    </a:lnTo>
                    <a:lnTo>
                      <a:pt x="19" y="62"/>
                    </a:lnTo>
                    <a:lnTo>
                      <a:pt x="22" y="61"/>
                    </a:lnTo>
                    <a:lnTo>
                      <a:pt x="29" y="66"/>
                    </a:lnTo>
                    <a:lnTo>
                      <a:pt x="34" y="64"/>
                    </a:lnTo>
                    <a:lnTo>
                      <a:pt x="36" y="67"/>
                    </a:lnTo>
                    <a:lnTo>
                      <a:pt x="39" y="66"/>
                    </a:lnTo>
                    <a:lnTo>
                      <a:pt x="42" y="62"/>
                    </a:lnTo>
                    <a:lnTo>
                      <a:pt x="48" y="61"/>
                    </a:lnTo>
                    <a:lnTo>
                      <a:pt x="51" y="62"/>
                    </a:lnTo>
                    <a:lnTo>
                      <a:pt x="56" y="62"/>
                    </a:lnTo>
                    <a:lnTo>
                      <a:pt x="63" y="66"/>
                    </a:lnTo>
                    <a:lnTo>
                      <a:pt x="66" y="61"/>
                    </a:lnTo>
                    <a:lnTo>
                      <a:pt x="70" y="61"/>
                    </a:lnTo>
                    <a:lnTo>
                      <a:pt x="73" y="64"/>
                    </a:lnTo>
                    <a:lnTo>
                      <a:pt x="70" y="67"/>
                    </a:lnTo>
                    <a:lnTo>
                      <a:pt x="68" y="73"/>
                    </a:lnTo>
                    <a:lnTo>
                      <a:pt x="68" y="79"/>
                    </a:lnTo>
                    <a:lnTo>
                      <a:pt x="71" y="83"/>
                    </a:lnTo>
                    <a:lnTo>
                      <a:pt x="71" y="86"/>
                    </a:lnTo>
                    <a:lnTo>
                      <a:pt x="76" y="88"/>
                    </a:lnTo>
                    <a:lnTo>
                      <a:pt x="78" y="93"/>
                    </a:lnTo>
                    <a:lnTo>
                      <a:pt x="80" y="96"/>
                    </a:lnTo>
                    <a:lnTo>
                      <a:pt x="87" y="95"/>
                    </a:lnTo>
                    <a:lnTo>
                      <a:pt x="90" y="95"/>
                    </a:lnTo>
                    <a:lnTo>
                      <a:pt x="93" y="89"/>
                    </a:lnTo>
                    <a:lnTo>
                      <a:pt x="99" y="91"/>
                    </a:lnTo>
                    <a:lnTo>
                      <a:pt x="102" y="89"/>
                    </a:lnTo>
                    <a:lnTo>
                      <a:pt x="105" y="88"/>
                    </a:lnTo>
                    <a:lnTo>
                      <a:pt x="109" y="84"/>
                    </a:lnTo>
                    <a:lnTo>
                      <a:pt x="112" y="86"/>
                    </a:lnTo>
                    <a:lnTo>
                      <a:pt x="117" y="88"/>
                    </a:lnTo>
                    <a:lnTo>
                      <a:pt x="121" y="91"/>
                    </a:lnTo>
                    <a:lnTo>
                      <a:pt x="124" y="91"/>
                    </a:lnTo>
                    <a:lnTo>
                      <a:pt x="126" y="88"/>
                    </a:lnTo>
                    <a:lnTo>
                      <a:pt x="126" y="84"/>
                    </a:lnTo>
                    <a:lnTo>
                      <a:pt x="124" y="81"/>
                    </a:lnTo>
                    <a:lnTo>
                      <a:pt x="131" y="81"/>
                    </a:lnTo>
                    <a:lnTo>
                      <a:pt x="134" y="79"/>
                    </a:lnTo>
                    <a:lnTo>
                      <a:pt x="138" y="76"/>
                    </a:lnTo>
                    <a:lnTo>
                      <a:pt x="141" y="78"/>
                    </a:lnTo>
                    <a:lnTo>
                      <a:pt x="148" y="78"/>
                    </a:lnTo>
                    <a:lnTo>
                      <a:pt x="151" y="78"/>
                    </a:lnTo>
                    <a:lnTo>
                      <a:pt x="155" y="81"/>
                    </a:lnTo>
                    <a:lnTo>
                      <a:pt x="160" y="86"/>
                    </a:lnTo>
                    <a:lnTo>
                      <a:pt x="163" y="86"/>
                    </a:lnTo>
                    <a:lnTo>
                      <a:pt x="163" y="83"/>
                    </a:lnTo>
                    <a:lnTo>
                      <a:pt x="161" y="79"/>
                    </a:lnTo>
                    <a:lnTo>
                      <a:pt x="158" y="76"/>
                    </a:lnTo>
                    <a:lnTo>
                      <a:pt x="160" y="69"/>
                    </a:lnTo>
                    <a:lnTo>
                      <a:pt x="163" y="66"/>
                    </a:lnTo>
                    <a:lnTo>
                      <a:pt x="163" y="62"/>
                    </a:lnTo>
                    <a:lnTo>
                      <a:pt x="165" y="59"/>
                    </a:lnTo>
                    <a:lnTo>
                      <a:pt x="167" y="54"/>
                    </a:lnTo>
                    <a:lnTo>
                      <a:pt x="170" y="50"/>
                    </a:lnTo>
                    <a:lnTo>
                      <a:pt x="172" y="45"/>
                    </a:lnTo>
                    <a:lnTo>
                      <a:pt x="170" y="42"/>
                    </a:lnTo>
                    <a:lnTo>
                      <a:pt x="168" y="37"/>
                    </a:lnTo>
                    <a:lnTo>
                      <a:pt x="170" y="32"/>
                    </a:lnTo>
                    <a:lnTo>
                      <a:pt x="172" y="27"/>
                    </a:lnTo>
                    <a:lnTo>
                      <a:pt x="173" y="22"/>
                    </a:lnTo>
                    <a:lnTo>
                      <a:pt x="173" y="18"/>
                    </a:lnTo>
                    <a:lnTo>
                      <a:pt x="173" y="15"/>
                    </a:lnTo>
                    <a:lnTo>
                      <a:pt x="173" y="11"/>
                    </a:lnTo>
                    <a:lnTo>
                      <a:pt x="172" y="8"/>
                    </a:lnTo>
                    <a:lnTo>
                      <a:pt x="173" y="5"/>
                    </a:lnTo>
                    <a:lnTo>
                      <a:pt x="173" y="1"/>
                    </a:lnTo>
                    <a:lnTo>
                      <a:pt x="177" y="5"/>
                    </a:lnTo>
                    <a:lnTo>
                      <a:pt x="182" y="3"/>
                    </a:lnTo>
                    <a:lnTo>
                      <a:pt x="185" y="1"/>
                    </a:lnTo>
                    <a:lnTo>
                      <a:pt x="189" y="3"/>
                    </a:lnTo>
                    <a:lnTo>
                      <a:pt x="194" y="5"/>
                    </a:lnTo>
                    <a:lnTo>
                      <a:pt x="199" y="3"/>
                    </a:lnTo>
                    <a:lnTo>
                      <a:pt x="204" y="6"/>
                    </a:lnTo>
                    <a:lnTo>
                      <a:pt x="207" y="5"/>
                    </a:lnTo>
                    <a:lnTo>
                      <a:pt x="213" y="1"/>
                    </a:lnTo>
                    <a:lnTo>
                      <a:pt x="218" y="1"/>
                    </a:lnTo>
                    <a:lnTo>
                      <a:pt x="221" y="0"/>
                    </a:lnTo>
                    <a:lnTo>
                      <a:pt x="226" y="1"/>
                    </a:lnTo>
                    <a:lnTo>
                      <a:pt x="230" y="0"/>
                    </a:lnTo>
                    <a:lnTo>
                      <a:pt x="230" y="0"/>
                    </a:lnTo>
                    <a:lnTo>
                      <a:pt x="233" y="3"/>
                    </a:lnTo>
                    <a:lnTo>
                      <a:pt x="233" y="6"/>
                    </a:lnTo>
                    <a:lnTo>
                      <a:pt x="230" y="11"/>
                    </a:lnTo>
                    <a:lnTo>
                      <a:pt x="226" y="15"/>
                    </a:lnTo>
                    <a:lnTo>
                      <a:pt x="226" y="20"/>
                    </a:lnTo>
                    <a:lnTo>
                      <a:pt x="226" y="23"/>
                    </a:lnTo>
                    <a:lnTo>
                      <a:pt x="226" y="28"/>
                    </a:lnTo>
                    <a:lnTo>
                      <a:pt x="224" y="32"/>
                    </a:lnTo>
                    <a:lnTo>
                      <a:pt x="228" y="37"/>
                    </a:lnTo>
                    <a:lnTo>
                      <a:pt x="230" y="42"/>
                    </a:lnTo>
                    <a:lnTo>
                      <a:pt x="230" y="45"/>
                    </a:lnTo>
                    <a:lnTo>
                      <a:pt x="231" y="50"/>
                    </a:lnTo>
                    <a:lnTo>
                      <a:pt x="233" y="54"/>
                    </a:lnTo>
                    <a:lnTo>
                      <a:pt x="236" y="59"/>
                    </a:lnTo>
                    <a:lnTo>
                      <a:pt x="235" y="62"/>
                    </a:lnTo>
                    <a:lnTo>
                      <a:pt x="231" y="69"/>
                    </a:lnTo>
                    <a:lnTo>
                      <a:pt x="228" y="73"/>
                    </a:lnTo>
                    <a:lnTo>
                      <a:pt x="224" y="79"/>
                    </a:lnTo>
                    <a:lnTo>
                      <a:pt x="221" y="83"/>
                    </a:lnTo>
                    <a:lnTo>
                      <a:pt x="218" y="86"/>
                    </a:lnTo>
                    <a:lnTo>
                      <a:pt x="214" y="93"/>
                    </a:lnTo>
                    <a:lnTo>
                      <a:pt x="213" y="96"/>
                    </a:lnTo>
                    <a:lnTo>
                      <a:pt x="209" y="103"/>
                    </a:lnTo>
                    <a:lnTo>
                      <a:pt x="207" y="106"/>
                    </a:lnTo>
                    <a:lnTo>
                      <a:pt x="206" y="110"/>
                    </a:lnTo>
                    <a:lnTo>
                      <a:pt x="204" y="113"/>
                    </a:lnTo>
                    <a:lnTo>
                      <a:pt x="202" y="117"/>
                    </a:lnTo>
                    <a:lnTo>
                      <a:pt x="202" y="125"/>
                    </a:lnTo>
                    <a:lnTo>
                      <a:pt x="202" y="130"/>
                    </a:lnTo>
                    <a:lnTo>
                      <a:pt x="204" y="134"/>
                    </a:lnTo>
                    <a:lnTo>
                      <a:pt x="206" y="139"/>
                    </a:lnTo>
                    <a:lnTo>
                      <a:pt x="209" y="140"/>
                    </a:lnTo>
                    <a:lnTo>
                      <a:pt x="214" y="144"/>
                    </a:lnTo>
                    <a:lnTo>
                      <a:pt x="216" y="149"/>
                    </a:lnTo>
                    <a:lnTo>
                      <a:pt x="216" y="154"/>
                    </a:lnTo>
                    <a:lnTo>
                      <a:pt x="216" y="157"/>
                    </a:lnTo>
                    <a:lnTo>
                      <a:pt x="216" y="162"/>
                    </a:lnTo>
                    <a:lnTo>
                      <a:pt x="216" y="168"/>
                    </a:lnTo>
                    <a:lnTo>
                      <a:pt x="219" y="168"/>
                    </a:lnTo>
                    <a:lnTo>
                      <a:pt x="228" y="173"/>
                    </a:lnTo>
                    <a:lnTo>
                      <a:pt x="231" y="174"/>
                    </a:lnTo>
                    <a:lnTo>
                      <a:pt x="236" y="178"/>
                    </a:lnTo>
                    <a:lnTo>
                      <a:pt x="240" y="178"/>
                    </a:lnTo>
                    <a:lnTo>
                      <a:pt x="243" y="179"/>
                    </a:lnTo>
                    <a:lnTo>
                      <a:pt x="248" y="179"/>
                    </a:lnTo>
                    <a:lnTo>
                      <a:pt x="255" y="178"/>
                    </a:lnTo>
                    <a:lnTo>
                      <a:pt x="260" y="178"/>
                    </a:lnTo>
                    <a:lnTo>
                      <a:pt x="264" y="178"/>
                    </a:lnTo>
                    <a:lnTo>
                      <a:pt x="269" y="178"/>
                    </a:lnTo>
                    <a:lnTo>
                      <a:pt x="274" y="178"/>
                    </a:lnTo>
                    <a:lnTo>
                      <a:pt x="277" y="176"/>
                    </a:lnTo>
                    <a:lnTo>
                      <a:pt x="284" y="176"/>
                    </a:lnTo>
                    <a:lnTo>
                      <a:pt x="287" y="178"/>
                    </a:lnTo>
                    <a:lnTo>
                      <a:pt x="292" y="181"/>
                    </a:lnTo>
                    <a:lnTo>
                      <a:pt x="296" y="184"/>
                    </a:lnTo>
                    <a:lnTo>
                      <a:pt x="301" y="191"/>
                    </a:lnTo>
                    <a:lnTo>
                      <a:pt x="304" y="195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0" name="Line 107">
                <a:extLst>
                  <a:ext uri="{FF2B5EF4-FFF2-40B4-BE49-F238E27FC236}">
                    <a16:creationId xmlns:a16="http://schemas.microsoft.com/office/drawing/2014/main" id="{D098D18C-FC9F-5C21-540F-77BB274F4C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47088" y="63976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1" name="Line 108">
                <a:extLst>
                  <a:ext uri="{FF2B5EF4-FFF2-40B4-BE49-F238E27FC236}">
                    <a16:creationId xmlns:a16="http://schemas.microsoft.com/office/drawing/2014/main" id="{18BF035E-00B3-2BF0-79F7-65EBBB0663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42338" y="63928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2" name="Line 109">
                <a:extLst>
                  <a:ext uri="{FF2B5EF4-FFF2-40B4-BE49-F238E27FC236}">
                    <a16:creationId xmlns:a16="http://schemas.microsoft.com/office/drawing/2014/main" id="{8F8FAA10-AE26-E2C2-84C3-8A199EFD83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28050" y="63627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3" name="Line 110">
                <a:extLst>
                  <a:ext uri="{FF2B5EF4-FFF2-40B4-BE49-F238E27FC236}">
                    <a16:creationId xmlns:a16="http://schemas.microsoft.com/office/drawing/2014/main" id="{7D3D6F29-DA9F-96DB-39CC-B02BFE2ECD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20113" y="6332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4" name="Line 111">
                <a:extLst>
                  <a:ext uri="{FF2B5EF4-FFF2-40B4-BE49-F238E27FC236}">
                    <a16:creationId xmlns:a16="http://schemas.microsoft.com/office/drawing/2014/main" id="{3A08D992-5AD9-4531-9F82-506DA2DDB4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85200" y="62261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5" name="Line 112">
                <a:extLst>
                  <a:ext uri="{FF2B5EF4-FFF2-40B4-BE49-F238E27FC236}">
                    <a16:creationId xmlns:a16="http://schemas.microsoft.com/office/drawing/2014/main" id="{138D6E32-4A4A-4E56-DBE4-7AE2B3FD10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50200" y="61880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6" name="Line 113">
                <a:extLst>
                  <a:ext uri="{FF2B5EF4-FFF2-40B4-BE49-F238E27FC236}">
                    <a16:creationId xmlns:a16="http://schemas.microsoft.com/office/drawing/2014/main" id="{AA77D0B1-0050-6373-D587-DA362A54C7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50275" y="60833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7" name="Line 114">
                <a:extLst>
                  <a:ext uri="{FF2B5EF4-FFF2-40B4-BE49-F238E27FC236}">
                    <a16:creationId xmlns:a16="http://schemas.microsoft.com/office/drawing/2014/main" id="{A73F8EB0-CEE7-ADEF-97D9-9972BC0BC4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20113" y="59023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8" name="Line 115">
                <a:extLst>
                  <a:ext uri="{FF2B5EF4-FFF2-40B4-BE49-F238E27FC236}">
                    <a16:creationId xmlns:a16="http://schemas.microsoft.com/office/drawing/2014/main" id="{F72BC462-8C64-33F1-0B3B-6236A6FD50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20113" y="59023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89" name="Line 116">
                <a:extLst>
                  <a:ext uri="{FF2B5EF4-FFF2-40B4-BE49-F238E27FC236}">
                    <a16:creationId xmlns:a16="http://schemas.microsoft.com/office/drawing/2014/main" id="{24A5EBB5-E331-63C5-DBD6-B766C224A0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5200" y="58705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0" name="Line 117">
                <a:extLst>
                  <a:ext uri="{FF2B5EF4-FFF2-40B4-BE49-F238E27FC236}">
                    <a16:creationId xmlns:a16="http://schemas.microsoft.com/office/drawing/2014/main" id="{206E0BE3-1E8E-BE66-5D75-97FF686BC4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07263" y="57943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1" name="Line 118">
                <a:extLst>
                  <a:ext uri="{FF2B5EF4-FFF2-40B4-BE49-F238E27FC236}">
                    <a16:creationId xmlns:a16="http://schemas.microsoft.com/office/drawing/2014/main" id="{2323377E-A5C1-DC70-65DF-752F7F30EF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3613" y="57896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2" name="Line 119">
                <a:extLst>
                  <a:ext uri="{FF2B5EF4-FFF2-40B4-BE49-F238E27FC236}">
                    <a16:creationId xmlns:a16="http://schemas.microsoft.com/office/drawing/2014/main" id="{C14B16D6-FBD4-9E22-BEB1-11CEBE1E70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0438" y="57864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3" name="Freeform 120">
                <a:extLst>
                  <a:ext uri="{FF2B5EF4-FFF2-40B4-BE49-F238E27FC236}">
                    <a16:creationId xmlns:a16="http://schemas.microsoft.com/office/drawing/2014/main" id="{34B2E197-1640-B342-70F5-6D2FD54F3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4563" y="5775325"/>
                <a:ext cx="11112" cy="26987"/>
              </a:xfrm>
              <a:custGeom>
                <a:avLst/>
                <a:gdLst>
                  <a:gd name="T0" fmla="*/ 1 w 7"/>
                  <a:gd name="T1" fmla="*/ 5 h 17"/>
                  <a:gd name="T2" fmla="*/ 0 w 7"/>
                  <a:gd name="T3" fmla="*/ 2 h 17"/>
                  <a:gd name="T4" fmla="*/ 3 w 7"/>
                  <a:gd name="T5" fmla="*/ 0 h 17"/>
                  <a:gd name="T6" fmla="*/ 5 w 7"/>
                  <a:gd name="T7" fmla="*/ 0 h 17"/>
                  <a:gd name="T8" fmla="*/ 5 w 7"/>
                  <a:gd name="T9" fmla="*/ 5 h 17"/>
                  <a:gd name="T10" fmla="*/ 7 w 7"/>
                  <a:gd name="T11" fmla="*/ 9 h 17"/>
                  <a:gd name="T12" fmla="*/ 7 w 7"/>
                  <a:gd name="T13" fmla="*/ 12 h 17"/>
                  <a:gd name="T14" fmla="*/ 7 w 7"/>
                  <a:gd name="T15" fmla="*/ 17 h 17"/>
                  <a:gd name="T16" fmla="*/ 3 w 7"/>
                  <a:gd name="T17" fmla="*/ 12 h 17"/>
                  <a:gd name="T18" fmla="*/ 3 w 7"/>
                  <a:gd name="T19" fmla="*/ 9 h 17"/>
                  <a:gd name="T20" fmla="*/ 1 w 7"/>
                  <a:gd name="T21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7">
                    <a:moveTo>
                      <a:pt x="1" y="5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7" y="17"/>
                    </a:lnTo>
                    <a:lnTo>
                      <a:pt x="3" y="12"/>
                    </a:lnTo>
                    <a:lnTo>
                      <a:pt x="3" y="9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4" name="Line 121">
                <a:extLst>
                  <a:ext uri="{FF2B5EF4-FFF2-40B4-BE49-F238E27FC236}">
                    <a16:creationId xmlns:a16="http://schemas.microsoft.com/office/drawing/2014/main" id="{3E72BD9E-CFFB-1D08-3A68-02922B4C00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69325" y="57356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5" name="Line 122">
                <a:extLst>
                  <a:ext uri="{FF2B5EF4-FFF2-40B4-BE49-F238E27FC236}">
                    <a16:creationId xmlns:a16="http://schemas.microsoft.com/office/drawing/2014/main" id="{3E9E30FA-95D4-9446-4592-DE8E82C0F1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91388" y="57245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6" name="Line 123">
                <a:extLst>
                  <a:ext uri="{FF2B5EF4-FFF2-40B4-BE49-F238E27FC236}">
                    <a16:creationId xmlns:a16="http://schemas.microsoft.com/office/drawing/2014/main" id="{BCF12F78-47D3-B786-AEB3-2F57F84567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86625" y="57277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7" name="Line 124">
                <a:extLst>
                  <a:ext uri="{FF2B5EF4-FFF2-40B4-BE49-F238E27FC236}">
                    <a16:creationId xmlns:a16="http://schemas.microsoft.com/office/drawing/2014/main" id="{A8D8925E-F54A-370F-7E8E-877B3C5CD4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1550" y="57118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8" name="Line 125">
                <a:extLst>
                  <a:ext uri="{FF2B5EF4-FFF2-40B4-BE49-F238E27FC236}">
                    <a16:creationId xmlns:a16="http://schemas.microsoft.com/office/drawing/2014/main" id="{C22FDBCE-26C3-DCE4-85D1-A282A79AD1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8375" y="57118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799" name="Line 126">
                <a:extLst>
                  <a:ext uri="{FF2B5EF4-FFF2-40B4-BE49-F238E27FC236}">
                    <a16:creationId xmlns:a16="http://schemas.microsoft.com/office/drawing/2014/main" id="{EC514840-6406-E577-F2CF-0C68535CD2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34250" y="56816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0" name="Line 127">
                <a:extLst>
                  <a:ext uri="{FF2B5EF4-FFF2-40B4-BE49-F238E27FC236}">
                    <a16:creationId xmlns:a16="http://schemas.microsoft.com/office/drawing/2014/main" id="{785A0CC3-4885-D0FC-D9CB-CFD3D32981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42225" y="55848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1" name="Freeform 128">
                <a:extLst>
                  <a:ext uri="{FF2B5EF4-FFF2-40B4-BE49-F238E27FC236}">
                    <a16:creationId xmlns:a16="http://schemas.microsoft.com/office/drawing/2014/main" id="{5383FFE8-BB76-0685-FC86-911BEE1C3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4563" y="5476875"/>
                <a:ext cx="1409700" cy="936625"/>
              </a:xfrm>
              <a:custGeom>
                <a:avLst/>
                <a:gdLst>
                  <a:gd name="T0" fmla="*/ 752 w 888"/>
                  <a:gd name="T1" fmla="*/ 304 h 590"/>
                  <a:gd name="T2" fmla="*/ 759 w 888"/>
                  <a:gd name="T3" fmla="*/ 353 h 590"/>
                  <a:gd name="T4" fmla="*/ 794 w 888"/>
                  <a:gd name="T5" fmla="*/ 368 h 590"/>
                  <a:gd name="T6" fmla="*/ 784 w 888"/>
                  <a:gd name="T7" fmla="*/ 388 h 590"/>
                  <a:gd name="T8" fmla="*/ 796 w 888"/>
                  <a:gd name="T9" fmla="*/ 414 h 590"/>
                  <a:gd name="T10" fmla="*/ 820 w 888"/>
                  <a:gd name="T11" fmla="*/ 438 h 590"/>
                  <a:gd name="T12" fmla="*/ 833 w 888"/>
                  <a:gd name="T13" fmla="*/ 461 h 590"/>
                  <a:gd name="T14" fmla="*/ 796 w 888"/>
                  <a:gd name="T15" fmla="*/ 480 h 590"/>
                  <a:gd name="T16" fmla="*/ 772 w 888"/>
                  <a:gd name="T17" fmla="*/ 522 h 590"/>
                  <a:gd name="T18" fmla="*/ 779 w 888"/>
                  <a:gd name="T19" fmla="*/ 565 h 590"/>
                  <a:gd name="T20" fmla="*/ 760 w 888"/>
                  <a:gd name="T21" fmla="*/ 582 h 590"/>
                  <a:gd name="T22" fmla="*/ 721 w 888"/>
                  <a:gd name="T23" fmla="*/ 568 h 590"/>
                  <a:gd name="T24" fmla="*/ 677 w 888"/>
                  <a:gd name="T25" fmla="*/ 573 h 590"/>
                  <a:gd name="T26" fmla="*/ 628 w 888"/>
                  <a:gd name="T27" fmla="*/ 555 h 590"/>
                  <a:gd name="T28" fmla="*/ 588 w 888"/>
                  <a:gd name="T29" fmla="*/ 534 h 590"/>
                  <a:gd name="T30" fmla="*/ 558 w 888"/>
                  <a:gd name="T31" fmla="*/ 487 h 590"/>
                  <a:gd name="T32" fmla="*/ 510 w 888"/>
                  <a:gd name="T33" fmla="*/ 453 h 590"/>
                  <a:gd name="T34" fmla="*/ 464 w 888"/>
                  <a:gd name="T35" fmla="*/ 446 h 590"/>
                  <a:gd name="T36" fmla="*/ 411 w 888"/>
                  <a:gd name="T37" fmla="*/ 443 h 590"/>
                  <a:gd name="T38" fmla="*/ 366 w 888"/>
                  <a:gd name="T39" fmla="*/ 424 h 590"/>
                  <a:gd name="T40" fmla="*/ 325 w 888"/>
                  <a:gd name="T41" fmla="*/ 390 h 590"/>
                  <a:gd name="T42" fmla="*/ 284 w 888"/>
                  <a:gd name="T43" fmla="*/ 378 h 590"/>
                  <a:gd name="T44" fmla="*/ 243 w 888"/>
                  <a:gd name="T45" fmla="*/ 356 h 590"/>
                  <a:gd name="T46" fmla="*/ 209 w 888"/>
                  <a:gd name="T47" fmla="*/ 322 h 590"/>
                  <a:gd name="T48" fmla="*/ 166 w 888"/>
                  <a:gd name="T49" fmla="*/ 316 h 590"/>
                  <a:gd name="T50" fmla="*/ 119 w 888"/>
                  <a:gd name="T51" fmla="*/ 295 h 590"/>
                  <a:gd name="T52" fmla="*/ 66 w 888"/>
                  <a:gd name="T53" fmla="*/ 299 h 590"/>
                  <a:gd name="T54" fmla="*/ 25 w 888"/>
                  <a:gd name="T55" fmla="*/ 268 h 590"/>
                  <a:gd name="T56" fmla="*/ 0 w 888"/>
                  <a:gd name="T57" fmla="*/ 222 h 590"/>
                  <a:gd name="T58" fmla="*/ 12 w 888"/>
                  <a:gd name="T59" fmla="*/ 178 h 590"/>
                  <a:gd name="T60" fmla="*/ 25 w 888"/>
                  <a:gd name="T61" fmla="*/ 143 h 590"/>
                  <a:gd name="T62" fmla="*/ 61 w 888"/>
                  <a:gd name="T63" fmla="*/ 112 h 590"/>
                  <a:gd name="T64" fmla="*/ 81 w 888"/>
                  <a:gd name="T65" fmla="*/ 88 h 590"/>
                  <a:gd name="T66" fmla="*/ 104 w 888"/>
                  <a:gd name="T67" fmla="*/ 121 h 590"/>
                  <a:gd name="T68" fmla="*/ 143 w 888"/>
                  <a:gd name="T69" fmla="*/ 136 h 590"/>
                  <a:gd name="T70" fmla="*/ 177 w 888"/>
                  <a:gd name="T71" fmla="*/ 107 h 590"/>
                  <a:gd name="T72" fmla="*/ 192 w 888"/>
                  <a:gd name="T73" fmla="*/ 80 h 590"/>
                  <a:gd name="T74" fmla="*/ 229 w 888"/>
                  <a:gd name="T75" fmla="*/ 73 h 590"/>
                  <a:gd name="T76" fmla="*/ 258 w 888"/>
                  <a:gd name="T77" fmla="*/ 88 h 590"/>
                  <a:gd name="T78" fmla="*/ 296 w 888"/>
                  <a:gd name="T79" fmla="*/ 102 h 590"/>
                  <a:gd name="T80" fmla="*/ 330 w 888"/>
                  <a:gd name="T81" fmla="*/ 134 h 590"/>
                  <a:gd name="T82" fmla="*/ 359 w 888"/>
                  <a:gd name="T83" fmla="*/ 146 h 590"/>
                  <a:gd name="T84" fmla="*/ 406 w 888"/>
                  <a:gd name="T85" fmla="*/ 134 h 590"/>
                  <a:gd name="T86" fmla="*/ 457 w 888"/>
                  <a:gd name="T87" fmla="*/ 126 h 590"/>
                  <a:gd name="T88" fmla="*/ 498 w 888"/>
                  <a:gd name="T89" fmla="*/ 126 h 590"/>
                  <a:gd name="T90" fmla="*/ 542 w 888"/>
                  <a:gd name="T91" fmla="*/ 121 h 590"/>
                  <a:gd name="T92" fmla="*/ 588 w 888"/>
                  <a:gd name="T93" fmla="*/ 105 h 590"/>
                  <a:gd name="T94" fmla="*/ 626 w 888"/>
                  <a:gd name="T95" fmla="*/ 83 h 590"/>
                  <a:gd name="T96" fmla="*/ 667 w 888"/>
                  <a:gd name="T97" fmla="*/ 63 h 590"/>
                  <a:gd name="T98" fmla="*/ 714 w 888"/>
                  <a:gd name="T99" fmla="*/ 65 h 590"/>
                  <a:gd name="T100" fmla="*/ 757 w 888"/>
                  <a:gd name="T101" fmla="*/ 61 h 590"/>
                  <a:gd name="T102" fmla="*/ 776 w 888"/>
                  <a:gd name="T103" fmla="*/ 19 h 590"/>
                  <a:gd name="T104" fmla="*/ 810 w 888"/>
                  <a:gd name="T105" fmla="*/ 34 h 590"/>
                  <a:gd name="T106" fmla="*/ 854 w 888"/>
                  <a:gd name="T107" fmla="*/ 2 h 590"/>
                  <a:gd name="T108" fmla="*/ 879 w 888"/>
                  <a:gd name="T109" fmla="*/ 15 h 590"/>
                  <a:gd name="T110" fmla="*/ 857 w 888"/>
                  <a:gd name="T111" fmla="*/ 61 h 590"/>
                  <a:gd name="T112" fmla="*/ 823 w 888"/>
                  <a:gd name="T113" fmla="*/ 122 h 590"/>
                  <a:gd name="T114" fmla="*/ 801 w 888"/>
                  <a:gd name="T115" fmla="*/ 161 h 590"/>
                  <a:gd name="T116" fmla="*/ 779 w 888"/>
                  <a:gd name="T117" fmla="*/ 207 h 590"/>
                  <a:gd name="T118" fmla="*/ 772 w 888"/>
                  <a:gd name="T119" fmla="*/ 248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8" h="590">
                    <a:moveTo>
                      <a:pt x="774" y="263"/>
                    </a:moveTo>
                    <a:lnTo>
                      <a:pt x="770" y="268"/>
                    </a:lnTo>
                    <a:lnTo>
                      <a:pt x="765" y="273"/>
                    </a:lnTo>
                    <a:lnTo>
                      <a:pt x="762" y="277"/>
                    </a:lnTo>
                    <a:lnTo>
                      <a:pt x="759" y="278"/>
                    </a:lnTo>
                    <a:lnTo>
                      <a:pt x="757" y="285"/>
                    </a:lnTo>
                    <a:lnTo>
                      <a:pt x="755" y="290"/>
                    </a:lnTo>
                    <a:lnTo>
                      <a:pt x="752" y="295"/>
                    </a:lnTo>
                    <a:lnTo>
                      <a:pt x="752" y="300"/>
                    </a:lnTo>
                    <a:lnTo>
                      <a:pt x="752" y="304"/>
                    </a:lnTo>
                    <a:lnTo>
                      <a:pt x="752" y="307"/>
                    </a:lnTo>
                    <a:lnTo>
                      <a:pt x="752" y="312"/>
                    </a:lnTo>
                    <a:lnTo>
                      <a:pt x="755" y="321"/>
                    </a:lnTo>
                    <a:lnTo>
                      <a:pt x="755" y="329"/>
                    </a:lnTo>
                    <a:lnTo>
                      <a:pt x="755" y="333"/>
                    </a:lnTo>
                    <a:lnTo>
                      <a:pt x="755" y="336"/>
                    </a:lnTo>
                    <a:lnTo>
                      <a:pt x="755" y="339"/>
                    </a:lnTo>
                    <a:lnTo>
                      <a:pt x="757" y="346"/>
                    </a:lnTo>
                    <a:lnTo>
                      <a:pt x="757" y="349"/>
                    </a:lnTo>
                    <a:lnTo>
                      <a:pt x="759" y="353"/>
                    </a:lnTo>
                    <a:lnTo>
                      <a:pt x="760" y="356"/>
                    </a:lnTo>
                    <a:lnTo>
                      <a:pt x="769" y="356"/>
                    </a:lnTo>
                    <a:lnTo>
                      <a:pt x="772" y="360"/>
                    </a:lnTo>
                    <a:lnTo>
                      <a:pt x="776" y="363"/>
                    </a:lnTo>
                    <a:lnTo>
                      <a:pt x="779" y="363"/>
                    </a:lnTo>
                    <a:lnTo>
                      <a:pt x="782" y="363"/>
                    </a:lnTo>
                    <a:lnTo>
                      <a:pt x="786" y="365"/>
                    </a:lnTo>
                    <a:lnTo>
                      <a:pt x="787" y="361"/>
                    </a:lnTo>
                    <a:lnTo>
                      <a:pt x="791" y="365"/>
                    </a:lnTo>
                    <a:lnTo>
                      <a:pt x="794" y="368"/>
                    </a:lnTo>
                    <a:lnTo>
                      <a:pt x="799" y="372"/>
                    </a:lnTo>
                    <a:lnTo>
                      <a:pt x="803" y="377"/>
                    </a:lnTo>
                    <a:lnTo>
                      <a:pt x="804" y="380"/>
                    </a:lnTo>
                    <a:lnTo>
                      <a:pt x="799" y="380"/>
                    </a:lnTo>
                    <a:lnTo>
                      <a:pt x="796" y="378"/>
                    </a:lnTo>
                    <a:lnTo>
                      <a:pt x="796" y="385"/>
                    </a:lnTo>
                    <a:lnTo>
                      <a:pt x="794" y="380"/>
                    </a:lnTo>
                    <a:lnTo>
                      <a:pt x="787" y="382"/>
                    </a:lnTo>
                    <a:lnTo>
                      <a:pt x="787" y="385"/>
                    </a:lnTo>
                    <a:lnTo>
                      <a:pt x="784" y="388"/>
                    </a:lnTo>
                    <a:lnTo>
                      <a:pt x="786" y="394"/>
                    </a:lnTo>
                    <a:lnTo>
                      <a:pt x="786" y="397"/>
                    </a:lnTo>
                    <a:lnTo>
                      <a:pt x="791" y="402"/>
                    </a:lnTo>
                    <a:lnTo>
                      <a:pt x="791" y="407"/>
                    </a:lnTo>
                    <a:lnTo>
                      <a:pt x="793" y="411"/>
                    </a:lnTo>
                    <a:lnTo>
                      <a:pt x="796" y="411"/>
                    </a:lnTo>
                    <a:lnTo>
                      <a:pt x="799" y="407"/>
                    </a:lnTo>
                    <a:lnTo>
                      <a:pt x="803" y="412"/>
                    </a:lnTo>
                    <a:lnTo>
                      <a:pt x="799" y="411"/>
                    </a:lnTo>
                    <a:lnTo>
                      <a:pt x="796" y="414"/>
                    </a:lnTo>
                    <a:lnTo>
                      <a:pt x="798" y="417"/>
                    </a:lnTo>
                    <a:lnTo>
                      <a:pt x="801" y="421"/>
                    </a:lnTo>
                    <a:lnTo>
                      <a:pt x="804" y="424"/>
                    </a:lnTo>
                    <a:lnTo>
                      <a:pt x="808" y="424"/>
                    </a:lnTo>
                    <a:lnTo>
                      <a:pt x="811" y="426"/>
                    </a:lnTo>
                    <a:lnTo>
                      <a:pt x="815" y="424"/>
                    </a:lnTo>
                    <a:lnTo>
                      <a:pt x="820" y="424"/>
                    </a:lnTo>
                    <a:lnTo>
                      <a:pt x="820" y="429"/>
                    </a:lnTo>
                    <a:lnTo>
                      <a:pt x="821" y="434"/>
                    </a:lnTo>
                    <a:lnTo>
                      <a:pt x="820" y="438"/>
                    </a:lnTo>
                    <a:lnTo>
                      <a:pt x="821" y="441"/>
                    </a:lnTo>
                    <a:lnTo>
                      <a:pt x="816" y="439"/>
                    </a:lnTo>
                    <a:lnTo>
                      <a:pt x="813" y="444"/>
                    </a:lnTo>
                    <a:lnTo>
                      <a:pt x="815" y="450"/>
                    </a:lnTo>
                    <a:lnTo>
                      <a:pt x="818" y="451"/>
                    </a:lnTo>
                    <a:lnTo>
                      <a:pt x="821" y="448"/>
                    </a:lnTo>
                    <a:lnTo>
                      <a:pt x="825" y="448"/>
                    </a:lnTo>
                    <a:lnTo>
                      <a:pt x="828" y="453"/>
                    </a:lnTo>
                    <a:lnTo>
                      <a:pt x="832" y="458"/>
                    </a:lnTo>
                    <a:lnTo>
                      <a:pt x="833" y="461"/>
                    </a:lnTo>
                    <a:lnTo>
                      <a:pt x="828" y="461"/>
                    </a:lnTo>
                    <a:lnTo>
                      <a:pt x="823" y="458"/>
                    </a:lnTo>
                    <a:lnTo>
                      <a:pt x="818" y="460"/>
                    </a:lnTo>
                    <a:lnTo>
                      <a:pt x="813" y="461"/>
                    </a:lnTo>
                    <a:lnTo>
                      <a:pt x="813" y="467"/>
                    </a:lnTo>
                    <a:lnTo>
                      <a:pt x="811" y="470"/>
                    </a:lnTo>
                    <a:lnTo>
                      <a:pt x="808" y="473"/>
                    </a:lnTo>
                    <a:lnTo>
                      <a:pt x="803" y="475"/>
                    </a:lnTo>
                    <a:lnTo>
                      <a:pt x="799" y="477"/>
                    </a:lnTo>
                    <a:lnTo>
                      <a:pt x="796" y="480"/>
                    </a:lnTo>
                    <a:lnTo>
                      <a:pt x="793" y="483"/>
                    </a:lnTo>
                    <a:lnTo>
                      <a:pt x="789" y="487"/>
                    </a:lnTo>
                    <a:lnTo>
                      <a:pt x="789" y="490"/>
                    </a:lnTo>
                    <a:lnTo>
                      <a:pt x="786" y="494"/>
                    </a:lnTo>
                    <a:lnTo>
                      <a:pt x="781" y="500"/>
                    </a:lnTo>
                    <a:lnTo>
                      <a:pt x="779" y="507"/>
                    </a:lnTo>
                    <a:lnTo>
                      <a:pt x="779" y="511"/>
                    </a:lnTo>
                    <a:lnTo>
                      <a:pt x="776" y="514"/>
                    </a:lnTo>
                    <a:lnTo>
                      <a:pt x="774" y="517"/>
                    </a:lnTo>
                    <a:lnTo>
                      <a:pt x="772" y="522"/>
                    </a:lnTo>
                    <a:lnTo>
                      <a:pt x="772" y="528"/>
                    </a:lnTo>
                    <a:lnTo>
                      <a:pt x="772" y="534"/>
                    </a:lnTo>
                    <a:lnTo>
                      <a:pt x="769" y="538"/>
                    </a:lnTo>
                    <a:lnTo>
                      <a:pt x="769" y="541"/>
                    </a:lnTo>
                    <a:lnTo>
                      <a:pt x="770" y="545"/>
                    </a:lnTo>
                    <a:lnTo>
                      <a:pt x="772" y="548"/>
                    </a:lnTo>
                    <a:lnTo>
                      <a:pt x="772" y="553"/>
                    </a:lnTo>
                    <a:lnTo>
                      <a:pt x="776" y="556"/>
                    </a:lnTo>
                    <a:lnTo>
                      <a:pt x="777" y="560"/>
                    </a:lnTo>
                    <a:lnTo>
                      <a:pt x="779" y="565"/>
                    </a:lnTo>
                    <a:lnTo>
                      <a:pt x="779" y="570"/>
                    </a:lnTo>
                    <a:lnTo>
                      <a:pt x="782" y="573"/>
                    </a:lnTo>
                    <a:lnTo>
                      <a:pt x="784" y="580"/>
                    </a:lnTo>
                    <a:lnTo>
                      <a:pt x="779" y="580"/>
                    </a:lnTo>
                    <a:lnTo>
                      <a:pt x="776" y="582"/>
                    </a:lnTo>
                    <a:lnTo>
                      <a:pt x="772" y="587"/>
                    </a:lnTo>
                    <a:lnTo>
                      <a:pt x="769" y="590"/>
                    </a:lnTo>
                    <a:lnTo>
                      <a:pt x="765" y="587"/>
                    </a:lnTo>
                    <a:lnTo>
                      <a:pt x="762" y="585"/>
                    </a:lnTo>
                    <a:lnTo>
                      <a:pt x="760" y="582"/>
                    </a:lnTo>
                    <a:lnTo>
                      <a:pt x="759" y="578"/>
                    </a:lnTo>
                    <a:lnTo>
                      <a:pt x="753" y="575"/>
                    </a:lnTo>
                    <a:lnTo>
                      <a:pt x="750" y="573"/>
                    </a:lnTo>
                    <a:lnTo>
                      <a:pt x="747" y="572"/>
                    </a:lnTo>
                    <a:lnTo>
                      <a:pt x="743" y="573"/>
                    </a:lnTo>
                    <a:lnTo>
                      <a:pt x="740" y="575"/>
                    </a:lnTo>
                    <a:lnTo>
                      <a:pt x="731" y="577"/>
                    </a:lnTo>
                    <a:lnTo>
                      <a:pt x="728" y="573"/>
                    </a:lnTo>
                    <a:lnTo>
                      <a:pt x="724" y="570"/>
                    </a:lnTo>
                    <a:lnTo>
                      <a:pt x="721" y="568"/>
                    </a:lnTo>
                    <a:lnTo>
                      <a:pt x="718" y="567"/>
                    </a:lnTo>
                    <a:lnTo>
                      <a:pt x="713" y="565"/>
                    </a:lnTo>
                    <a:lnTo>
                      <a:pt x="707" y="565"/>
                    </a:lnTo>
                    <a:lnTo>
                      <a:pt x="702" y="567"/>
                    </a:lnTo>
                    <a:lnTo>
                      <a:pt x="697" y="568"/>
                    </a:lnTo>
                    <a:lnTo>
                      <a:pt x="696" y="573"/>
                    </a:lnTo>
                    <a:lnTo>
                      <a:pt x="692" y="570"/>
                    </a:lnTo>
                    <a:lnTo>
                      <a:pt x="687" y="573"/>
                    </a:lnTo>
                    <a:lnTo>
                      <a:pt x="684" y="577"/>
                    </a:lnTo>
                    <a:lnTo>
                      <a:pt x="677" y="573"/>
                    </a:lnTo>
                    <a:lnTo>
                      <a:pt x="673" y="572"/>
                    </a:lnTo>
                    <a:lnTo>
                      <a:pt x="663" y="572"/>
                    </a:lnTo>
                    <a:lnTo>
                      <a:pt x="660" y="573"/>
                    </a:lnTo>
                    <a:lnTo>
                      <a:pt x="656" y="572"/>
                    </a:lnTo>
                    <a:lnTo>
                      <a:pt x="653" y="567"/>
                    </a:lnTo>
                    <a:lnTo>
                      <a:pt x="648" y="563"/>
                    </a:lnTo>
                    <a:lnTo>
                      <a:pt x="643" y="561"/>
                    </a:lnTo>
                    <a:lnTo>
                      <a:pt x="638" y="556"/>
                    </a:lnTo>
                    <a:lnTo>
                      <a:pt x="631" y="556"/>
                    </a:lnTo>
                    <a:lnTo>
                      <a:pt x="628" y="555"/>
                    </a:lnTo>
                    <a:lnTo>
                      <a:pt x="617" y="553"/>
                    </a:lnTo>
                    <a:lnTo>
                      <a:pt x="614" y="553"/>
                    </a:lnTo>
                    <a:lnTo>
                      <a:pt x="609" y="553"/>
                    </a:lnTo>
                    <a:lnTo>
                      <a:pt x="605" y="551"/>
                    </a:lnTo>
                    <a:lnTo>
                      <a:pt x="602" y="551"/>
                    </a:lnTo>
                    <a:lnTo>
                      <a:pt x="599" y="551"/>
                    </a:lnTo>
                    <a:lnTo>
                      <a:pt x="595" y="548"/>
                    </a:lnTo>
                    <a:lnTo>
                      <a:pt x="590" y="543"/>
                    </a:lnTo>
                    <a:lnTo>
                      <a:pt x="588" y="538"/>
                    </a:lnTo>
                    <a:lnTo>
                      <a:pt x="588" y="534"/>
                    </a:lnTo>
                    <a:lnTo>
                      <a:pt x="585" y="529"/>
                    </a:lnTo>
                    <a:lnTo>
                      <a:pt x="585" y="526"/>
                    </a:lnTo>
                    <a:lnTo>
                      <a:pt x="583" y="522"/>
                    </a:lnTo>
                    <a:lnTo>
                      <a:pt x="582" y="519"/>
                    </a:lnTo>
                    <a:lnTo>
                      <a:pt x="576" y="512"/>
                    </a:lnTo>
                    <a:lnTo>
                      <a:pt x="573" y="507"/>
                    </a:lnTo>
                    <a:lnTo>
                      <a:pt x="570" y="502"/>
                    </a:lnTo>
                    <a:lnTo>
                      <a:pt x="566" y="495"/>
                    </a:lnTo>
                    <a:lnTo>
                      <a:pt x="563" y="492"/>
                    </a:lnTo>
                    <a:lnTo>
                      <a:pt x="558" y="487"/>
                    </a:lnTo>
                    <a:lnTo>
                      <a:pt x="554" y="483"/>
                    </a:lnTo>
                    <a:lnTo>
                      <a:pt x="551" y="478"/>
                    </a:lnTo>
                    <a:lnTo>
                      <a:pt x="548" y="475"/>
                    </a:lnTo>
                    <a:lnTo>
                      <a:pt x="544" y="472"/>
                    </a:lnTo>
                    <a:lnTo>
                      <a:pt x="539" y="468"/>
                    </a:lnTo>
                    <a:lnTo>
                      <a:pt x="534" y="465"/>
                    </a:lnTo>
                    <a:lnTo>
                      <a:pt x="531" y="461"/>
                    </a:lnTo>
                    <a:lnTo>
                      <a:pt x="522" y="458"/>
                    </a:lnTo>
                    <a:lnTo>
                      <a:pt x="519" y="456"/>
                    </a:lnTo>
                    <a:lnTo>
                      <a:pt x="510" y="453"/>
                    </a:lnTo>
                    <a:lnTo>
                      <a:pt x="502" y="450"/>
                    </a:lnTo>
                    <a:lnTo>
                      <a:pt x="498" y="448"/>
                    </a:lnTo>
                    <a:lnTo>
                      <a:pt x="493" y="448"/>
                    </a:lnTo>
                    <a:lnTo>
                      <a:pt x="490" y="448"/>
                    </a:lnTo>
                    <a:lnTo>
                      <a:pt x="486" y="446"/>
                    </a:lnTo>
                    <a:lnTo>
                      <a:pt x="481" y="446"/>
                    </a:lnTo>
                    <a:lnTo>
                      <a:pt x="476" y="444"/>
                    </a:lnTo>
                    <a:lnTo>
                      <a:pt x="473" y="444"/>
                    </a:lnTo>
                    <a:lnTo>
                      <a:pt x="469" y="444"/>
                    </a:lnTo>
                    <a:lnTo>
                      <a:pt x="464" y="446"/>
                    </a:lnTo>
                    <a:lnTo>
                      <a:pt x="461" y="446"/>
                    </a:lnTo>
                    <a:lnTo>
                      <a:pt x="454" y="446"/>
                    </a:lnTo>
                    <a:lnTo>
                      <a:pt x="447" y="446"/>
                    </a:lnTo>
                    <a:lnTo>
                      <a:pt x="442" y="448"/>
                    </a:lnTo>
                    <a:lnTo>
                      <a:pt x="434" y="451"/>
                    </a:lnTo>
                    <a:lnTo>
                      <a:pt x="430" y="451"/>
                    </a:lnTo>
                    <a:lnTo>
                      <a:pt x="423" y="451"/>
                    </a:lnTo>
                    <a:lnTo>
                      <a:pt x="420" y="451"/>
                    </a:lnTo>
                    <a:lnTo>
                      <a:pt x="413" y="448"/>
                    </a:lnTo>
                    <a:lnTo>
                      <a:pt x="411" y="443"/>
                    </a:lnTo>
                    <a:lnTo>
                      <a:pt x="408" y="438"/>
                    </a:lnTo>
                    <a:lnTo>
                      <a:pt x="403" y="436"/>
                    </a:lnTo>
                    <a:lnTo>
                      <a:pt x="398" y="436"/>
                    </a:lnTo>
                    <a:lnTo>
                      <a:pt x="394" y="436"/>
                    </a:lnTo>
                    <a:lnTo>
                      <a:pt x="389" y="436"/>
                    </a:lnTo>
                    <a:lnTo>
                      <a:pt x="383" y="436"/>
                    </a:lnTo>
                    <a:lnTo>
                      <a:pt x="377" y="433"/>
                    </a:lnTo>
                    <a:lnTo>
                      <a:pt x="374" y="427"/>
                    </a:lnTo>
                    <a:lnTo>
                      <a:pt x="371" y="427"/>
                    </a:lnTo>
                    <a:lnTo>
                      <a:pt x="366" y="424"/>
                    </a:lnTo>
                    <a:lnTo>
                      <a:pt x="360" y="422"/>
                    </a:lnTo>
                    <a:lnTo>
                      <a:pt x="357" y="421"/>
                    </a:lnTo>
                    <a:lnTo>
                      <a:pt x="354" y="414"/>
                    </a:lnTo>
                    <a:lnTo>
                      <a:pt x="350" y="411"/>
                    </a:lnTo>
                    <a:lnTo>
                      <a:pt x="347" y="407"/>
                    </a:lnTo>
                    <a:lnTo>
                      <a:pt x="342" y="405"/>
                    </a:lnTo>
                    <a:lnTo>
                      <a:pt x="337" y="400"/>
                    </a:lnTo>
                    <a:lnTo>
                      <a:pt x="332" y="397"/>
                    </a:lnTo>
                    <a:lnTo>
                      <a:pt x="328" y="394"/>
                    </a:lnTo>
                    <a:lnTo>
                      <a:pt x="325" y="390"/>
                    </a:lnTo>
                    <a:lnTo>
                      <a:pt x="321" y="390"/>
                    </a:lnTo>
                    <a:lnTo>
                      <a:pt x="316" y="390"/>
                    </a:lnTo>
                    <a:lnTo>
                      <a:pt x="313" y="388"/>
                    </a:lnTo>
                    <a:lnTo>
                      <a:pt x="309" y="388"/>
                    </a:lnTo>
                    <a:lnTo>
                      <a:pt x="304" y="390"/>
                    </a:lnTo>
                    <a:lnTo>
                      <a:pt x="299" y="388"/>
                    </a:lnTo>
                    <a:lnTo>
                      <a:pt x="296" y="388"/>
                    </a:lnTo>
                    <a:lnTo>
                      <a:pt x="291" y="387"/>
                    </a:lnTo>
                    <a:lnTo>
                      <a:pt x="287" y="383"/>
                    </a:lnTo>
                    <a:lnTo>
                      <a:pt x="284" y="378"/>
                    </a:lnTo>
                    <a:lnTo>
                      <a:pt x="280" y="375"/>
                    </a:lnTo>
                    <a:lnTo>
                      <a:pt x="277" y="375"/>
                    </a:lnTo>
                    <a:lnTo>
                      <a:pt x="272" y="372"/>
                    </a:lnTo>
                    <a:lnTo>
                      <a:pt x="269" y="370"/>
                    </a:lnTo>
                    <a:lnTo>
                      <a:pt x="265" y="366"/>
                    </a:lnTo>
                    <a:lnTo>
                      <a:pt x="258" y="366"/>
                    </a:lnTo>
                    <a:lnTo>
                      <a:pt x="255" y="361"/>
                    </a:lnTo>
                    <a:lnTo>
                      <a:pt x="252" y="358"/>
                    </a:lnTo>
                    <a:lnTo>
                      <a:pt x="248" y="356"/>
                    </a:lnTo>
                    <a:lnTo>
                      <a:pt x="243" y="356"/>
                    </a:lnTo>
                    <a:lnTo>
                      <a:pt x="241" y="353"/>
                    </a:lnTo>
                    <a:lnTo>
                      <a:pt x="240" y="349"/>
                    </a:lnTo>
                    <a:lnTo>
                      <a:pt x="235" y="343"/>
                    </a:lnTo>
                    <a:lnTo>
                      <a:pt x="231" y="339"/>
                    </a:lnTo>
                    <a:lnTo>
                      <a:pt x="228" y="336"/>
                    </a:lnTo>
                    <a:lnTo>
                      <a:pt x="224" y="333"/>
                    </a:lnTo>
                    <a:lnTo>
                      <a:pt x="221" y="333"/>
                    </a:lnTo>
                    <a:lnTo>
                      <a:pt x="219" y="329"/>
                    </a:lnTo>
                    <a:lnTo>
                      <a:pt x="214" y="324"/>
                    </a:lnTo>
                    <a:lnTo>
                      <a:pt x="209" y="322"/>
                    </a:lnTo>
                    <a:lnTo>
                      <a:pt x="206" y="321"/>
                    </a:lnTo>
                    <a:lnTo>
                      <a:pt x="202" y="322"/>
                    </a:lnTo>
                    <a:lnTo>
                      <a:pt x="199" y="322"/>
                    </a:lnTo>
                    <a:lnTo>
                      <a:pt x="194" y="321"/>
                    </a:lnTo>
                    <a:lnTo>
                      <a:pt x="187" y="319"/>
                    </a:lnTo>
                    <a:lnTo>
                      <a:pt x="184" y="319"/>
                    </a:lnTo>
                    <a:lnTo>
                      <a:pt x="178" y="321"/>
                    </a:lnTo>
                    <a:lnTo>
                      <a:pt x="172" y="324"/>
                    </a:lnTo>
                    <a:lnTo>
                      <a:pt x="170" y="319"/>
                    </a:lnTo>
                    <a:lnTo>
                      <a:pt x="166" y="316"/>
                    </a:lnTo>
                    <a:lnTo>
                      <a:pt x="163" y="309"/>
                    </a:lnTo>
                    <a:lnTo>
                      <a:pt x="158" y="305"/>
                    </a:lnTo>
                    <a:lnTo>
                      <a:pt x="155" y="302"/>
                    </a:lnTo>
                    <a:lnTo>
                      <a:pt x="149" y="297"/>
                    </a:lnTo>
                    <a:lnTo>
                      <a:pt x="141" y="295"/>
                    </a:lnTo>
                    <a:lnTo>
                      <a:pt x="138" y="297"/>
                    </a:lnTo>
                    <a:lnTo>
                      <a:pt x="132" y="295"/>
                    </a:lnTo>
                    <a:lnTo>
                      <a:pt x="127" y="295"/>
                    </a:lnTo>
                    <a:lnTo>
                      <a:pt x="124" y="295"/>
                    </a:lnTo>
                    <a:lnTo>
                      <a:pt x="119" y="295"/>
                    </a:lnTo>
                    <a:lnTo>
                      <a:pt x="110" y="295"/>
                    </a:lnTo>
                    <a:lnTo>
                      <a:pt x="102" y="295"/>
                    </a:lnTo>
                    <a:lnTo>
                      <a:pt x="98" y="297"/>
                    </a:lnTo>
                    <a:lnTo>
                      <a:pt x="93" y="299"/>
                    </a:lnTo>
                    <a:lnTo>
                      <a:pt x="88" y="300"/>
                    </a:lnTo>
                    <a:lnTo>
                      <a:pt x="85" y="302"/>
                    </a:lnTo>
                    <a:lnTo>
                      <a:pt x="78" y="304"/>
                    </a:lnTo>
                    <a:lnTo>
                      <a:pt x="75" y="305"/>
                    </a:lnTo>
                    <a:lnTo>
                      <a:pt x="70" y="302"/>
                    </a:lnTo>
                    <a:lnTo>
                      <a:pt x="66" y="299"/>
                    </a:lnTo>
                    <a:lnTo>
                      <a:pt x="59" y="290"/>
                    </a:lnTo>
                    <a:lnTo>
                      <a:pt x="58" y="287"/>
                    </a:lnTo>
                    <a:lnTo>
                      <a:pt x="56" y="282"/>
                    </a:lnTo>
                    <a:lnTo>
                      <a:pt x="54" y="278"/>
                    </a:lnTo>
                    <a:lnTo>
                      <a:pt x="49" y="275"/>
                    </a:lnTo>
                    <a:lnTo>
                      <a:pt x="44" y="271"/>
                    </a:lnTo>
                    <a:lnTo>
                      <a:pt x="41" y="270"/>
                    </a:lnTo>
                    <a:lnTo>
                      <a:pt x="34" y="270"/>
                    </a:lnTo>
                    <a:lnTo>
                      <a:pt x="27" y="271"/>
                    </a:lnTo>
                    <a:lnTo>
                      <a:pt x="25" y="268"/>
                    </a:lnTo>
                    <a:lnTo>
                      <a:pt x="20" y="261"/>
                    </a:lnTo>
                    <a:lnTo>
                      <a:pt x="15" y="258"/>
                    </a:lnTo>
                    <a:lnTo>
                      <a:pt x="15" y="255"/>
                    </a:lnTo>
                    <a:lnTo>
                      <a:pt x="13" y="248"/>
                    </a:lnTo>
                    <a:lnTo>
                      <a:pt x="13" y="243"/>
                    </a:lnTo>
                    <a:lnTo>
                      <a:pt x="12" y="238"/>
                    </a:lnTo>
                    <a:lnTo>
                      <a:pt x="10" y="234"/>
                    </a:lnTo>
                    <a:lnTo>
                      <a:pt x="8" y="231"/>
                    </a:lnTo>
                    <a:lnTo>
                      <a:pt x="5" y="227"/>
                    </a:lnTo>
                    <a:lnTo>
                      <a:pt x="0" y="222"/>
                    </a:lnTo>
                    <a:lnTo>
                      <a:pt x="3" y="219"/>
                    </a:lnTo>
                    <a:lnTo>
                      <a:pt x="7" y="219"/>
                    </a:lnTo>
                    <a:lnTo>
                      <a:pt x="12" y="214"/>
                    </a:lnTo>
                    <a:lnTo>
                      <a:pt x="12" y="210"/>
                    </a:lnTo>
                    <a:lnTo>
                      <a:pt x="13" y="204"/>
                    </a:lnTo>
                    <a:lnTo>
                      <a:pt x="17" y="197"/>
                    </a:lnTo>
                    <a:lnTo>
                      <a:pt x="13" y="193"/>
                    </a:lnTo>
                    <a:lnTo>
                      <a:pt x="8" y="185"/>
                    </a:lnTo>
                    <a:lnTo>
                      <a:pt x="10" y="182"/>
                    </a:lnTo>
                    <a:lnTo>
                      <a:pt x="12" y="178"/>
                    </a:lnTo>
                    <a:lnTo>
                      <a:pt x="13" y="173"/>
                    </a:lnTo>
                    <a:lnTo>
                      <a:pt x="17" y="170"/>
                    </a:lnTo>
                    <a:lnTo>
                      <a:pt x="17" y="166"/>
                    </a:lnTo>
                    <a:lnTo>
                      <a:pt x="17" y="161"/>
                    </a:lnTo>
                    <a:lnTo>
                      <a:pt x="17" y="158"/>
                    </a:lnTo>
                    <a:lnTo>
                      <a:pt x="20" y="153"/>
                    </a:lnTo>
                    <a:lnTo>
                      <a:pt x="24" y="149"/>
                    </a:lnTo>
                    <a:lnTo>
                      <a:pt x="17" y="146"/>
                    </a:lnTo>
                    <a:lnTo>
                      <a:pt x="22" y="146"/>
                    </a:lnTo>
                    <a:lnTo>
                      <a:pt x="25" y="143"/>
                    </a:lnTo>
                    <a:lnTo>
                      <a:pt x="30" y="136"/>
                    </a:lnTo>
                    <a:lnTo>
                      <a:pt x="34" y="129"/>
                    </a:lnTo>
                    <a:lnTo>
                      <a:pt x="37" y="127"/>
                    </a:lnTo>
                    <a:lnTo>
                      <a:pt x="42" y="127"/>
                    </a:lnTo>
                    <a:lnTo>
                      <a:pt x="46" y="129"/>
                    </a:lnTo>
                    <a:lnTo>
                      <a:pt x="54" y="126"/>
                    </a:lnTo>
                    <a:lnTo>
                      <a:pt x="58" y="122"/>
                    </a:lnTo>
                    <a:lnTo>
                      <a:pt x="61" y="119"/>
                    </a:lnTo>
                    <a:lnTo>
                      <a:pt x="61" y="115"/>
                    </a:lnTo>
                    <a:lnTo>
                      <a:pt x="61" y="112"/>
                    </a:lnTo>
                    <a:lnTo>
                      <a:pt x="66" y="110"/>
                    </a:lnTo>
                    <a:lnTo>
                      <a:pt x="70" y="112"/>
                    </a:lnTo>
                    <a:lnTo>
                      <a:pt x="75" y="112"/>
                    </a:lnTo>
                    <a:lnTo>
                      <a:pt x="78" y="107"/>
                    </a:lnTo>
                    <a:lnTo>
                      <a:pt x="81" y="102"/>
                    </a:lnTo>
                    <a:lnTo>
                      <a:pt x="80" y="97"/>
                    </a:lnTo>
                    <a:lnTo>
                      <a:pt x="76" y="92"/>
                    </a:lnTo>
                    <a:lnTo>
                      <a:pt x="76" y="88"/>
                    </a:lnTo>
                    <a:lnTo>
                      <a:pt x="78" y="83"/>
                    </a:lnTo>
                    <a:lnTo>
                      <a:pt x="81" y="88"/>
                    </a:lnTo>
                    <a:lnTo>
                      <a:pt x="85" y="87"/>
                    </a:lnTo>
                    <a:lnTo>
                      <a:pt x="90" y="85"/>
                    </a:lnTo>
                    <a:lnTo>
                      <a:pt x="92" y="90"/>
                    </a:lnTo>
                    <a:lnTo>
                      <a:pt x="90" y="93"/>
                    </a:lnTo>
                    <a:lnTo>
                      <a:pt x="93" y="95"/>
                    </a:lnTo>
                    <a:lnTo>
                      <a:pt x="97" y="102"/>
                    </a:lnTo>
                    <a:lnTo>
                      <a:pt x="97" y="107"/>
                    </a:lnTo>
                    <a:lnTo>
                      <a:pt x="98" y="110"/>
                    </a:lnTo>
                    <a:lnTo>
                      <a:pt x="102" y="115"/>
                    </a:lnTo>
                    <a:lnTo>
                      <a:pt x="104" y="121"/>
                    </a:lnTo>
                    <a:lnTo>
                      <a:pt x="107" y="124"/>
                    </a:lnTo>
                    <a:lnTo>
                      <a:pt x="112" y="127"/>
                    </a:lnTo>
                    <a:lnTo>
                      <a:pt x="115" y="129"/>
                    </a:lnTo>
                    <a:lnTo>
                      <a:pt x="121" y="129"/>
                    </a:lnTo>
                    <a:lnTo>
                      <a:pt x="121" y="134"/>
                    </a:lnTo>
                    <a:lnTo>
                      <a:pt x="122" y="137"/>
                    </a:lnTo>
                    <a:lnTo>
                      <a:pt x="127" y="139"/>
                    </a:lnTo>
                    <a:lnTo>
                      <a:pt x="131" y="139"/>
                    </a:lnTo>
                    <a:lnTo>
                      <a:pt x="138" y="137"/>
                    </a:lnTo>
                    <a:lnTo>
                      <a:pt x="143" y="136"/>
                    </a:lnTo>
                    <a:lnTo>
                      <a:pt x="148" y="134"/>
                    </a:lnTo>
                    <a:lnTo>
                      <a:pt x="151" y="132"/>
                    </a:lnTo>
                    <a:lnTo>
                      <a:pt x="156" y="129"/>
                    </a:lnTo>
                    <a:lnTo>
                      <a:pt x="161" y="126"/>
                    </a:lnTo>
                    <a:lnTo>
                      <a:pt x="165" y="122"/>
                    </a:lnTo>
                    <a:lnTo>
                      <a:pt x="170" y="121"/>
                    </a:lnTo>
                    <a:lnTo>
                      <a:pt x="173" y="119"/>
                    </a:lnTo>
                    <a:lnTo>
                      <a:pt x="178" y="115"/>
                    </a:lnTo>
                    <a:lnTo>
                      <a:pt x="177" y="112"/>
                    </a:lnTo>
                    <a:lnTo>
                      <a:pt x="177" y="107"/>
                    </a:lnTo>
                    <a:lnTo>
                      <a:pt x="175" y="104"/>
                    </a:lnTo>
                    <a:lnTo>
                      <a:pt x="172" y="100"/>
                    </a:lnTo>
                    <a:lnTo>
                      <a:pt x="173" y="95"/>
                    </a:lnTo>
                    <a:lnTo>
                      <a:pt x="177" y="92"/>
                    </a:lnTo>
                    <a:lnTo>
                      <a:pt x="178" y="88"/>
                    </a:lnTo>
                    <a:lnTo>
                      <a:pt x="177" y="85"/>
                    </a:lnTo>
                    <a:lnTo>
                      <a:pt x="180" y="82"/>
                    </a:lnTo>
                    <a:lnTo>
                      <a:pt x="185" y="78"/>
                    </a:lnTo>
                    <a:lnTo>
                      <a:pt x="189" y="78"/>
                    </a:lnTo>
                    <a:lnTo>
                      <a:pt x="192" y="80"/>
                    </a:lnTo>
                    <a:lnTo>
                      <a:pt x="195" y="78"/>
                    </a:lnTo>
                    <a:lnTo>
                      <a:pt x="201" y="80"/>
                    </a:lnTo>
                    <a:lnTo>
                      <a:pt x="201" y="83"/>
                    </a:lnTo>
                    <a:lnTo>
                      <a:pt x="204" y="85"/>
                    </a:lnTo>
                    <a:lnTo>
                      <a:pt x="207" y="85"/>
                    </a:lnTo>
                    <a:lnTo>
                      <a:pt x="214" y="82"/>
                    </a:lnTo>
                    <a:lnTo>
                      <a:pt x="221" y="78"/>
                    </a:lnTo>
                    <a:lnTo>
                      <a:pt x="223" y="73"/>
                    </a:lnTo>
                    <a:lnTo>
                      <a:pt x="226" y="73"/>
                    </a:lnTo>
                    <a:lnTo>
                      <a:pt x="229" y="73"/>
                    </a:lnTo>
                    <a:lnTo>
                      <a:pt x="235" y="70"/>
                    </a:lnTo>
                    <a:lnTo>
                      <a:pt x="238" y="65"/>
                    </a:lnTo>
                    <a:lnTo>
                      <a:pt x="241" y="65"/>
                    </a:lnTo>
                    <a:lnTo>
                      <a:pt x="245" y="68"/>
                    </a:lnTo>
                    <a:lnTo>
                      <a:pt x="245" y="71"/>
                    </a:lnTo>
                    <a:lnTo>
                      <a:pt x="252" y="75"/>
                    </a:lnTo>
                    <a:lnTo>
                      <a:pt x="255" y="75"/>
                    </a:lnTo>
                    <a:lnTo>
                      <a:pt x="257" y="80"/>
                    </a:lnTo>
                    <a:lnTo>
                      <a:pt x="258" y="85"/>
                    </a:lnTo>
                    <a:lnTo>
                      <a:pt x="258" y="88"/>
                    </a:lnTo>
                    <a:lnTo>
                      <a:pt x="258" y="93"/>
                    </a:lnTo>
                    <a:lnTo>
                      <a:pt x="257" y="97"/>
                    </a:lnTo>
                    <a:lnTo>
                      <a:pt x="262" y="102"/>
                    </a:lnTo>
                    <a:lnTo>
                      <a:pt x="265" y="105"/>
                    </a:lnTo>
                    <a:lnTo>
                      <a:pt x="269" y="105"/>
                    </a:lnTo>
                    <a:lnTo>
                      <a:pt x="277" y="107"/>
                    </a:lnTo>
                    <a:lnTo>
                      <a:pt x="280" y="107"/>
                    </a:lnTo>
                    <a:lnTo>
                      <a:pt x="286" y="107"/>
                    </a:lnTo>
                    <a:lnTo>
                      <a:pt x="289" y="105"/>
                    </a:lnTo>
                    <a:lnTo>
                      <a:pt x="296" y="102"/>
                    </a:lnTo>
                    <a:lnTo>
                      <a:pt x="303" y="100"/>
                    </a:lnTo>
                    <a:lnTo>
                      <a:pt x="306" y="105"/>
                    </a:lnTo>
                    <a:lnTo>
                      <a:pt x="306" y="109"/>
                    </a:lnTo>
                    <a:lnTo>
                      <a:pt x="306" y="114"/>
                    </a:lnTo>
                    <a:lnTo>
                      <a:pt x="308" y="119"/>
                    </a:lnTo>
                    <a:lnTo>
                      <a:pt x="311" y="122"/>
                    </a:lnTo>
                    <a:lnTo>
                      <a:pt x="314" y="126"/>
                    </a:lnTo>
                    <a:lnTo>
                      <a:pt x="321" y="129"/>
                    </a:lnTo>
                    <a:lnTo>
                      <a:pt x="326" y="131"/>
                    </a:lnTo>
                    <a:lnTo>
                      <a:pt x="330" y="134"/>
                    </a:lnTo>
                    <a:lnTo>
                      <a:pt x="335" y="136"/>
                    </a:lnTo>
                    <a:lnTo>
                      <a:pt x="338" y="139"/>
                    </a:lnTo>
                    <a:lnTo>
                      <a:pt x="343" y="139"/>
                    </a:lnTo>
                    <a:lnTo>
                      <a:pt x="347" y="139"/>
                    </a:lnTo>
                    <a:lnTo>
                      <a:pt x="350" y="141"/>
                    </a:lnTo>
                    <a:lnTo>
                      <a:pt x="355" y="141"/>
                    </a:lnTo>
                    <a:lnTo>
                      <a:pt x="359" y="143"/>
                    </a:lnTo>
                    <a:lnTo>
                      <a:pt x="355" y="141"/>
                    </a:lnTo>
                    <a:lnTo>
                      <a:pt x="355" y="144"/>
                    </a:lnTo>
                    <a:lnTo>
                      <a:pt x="359" y="146"/>
                    </a:lnTo>
                    <a:lnTo>
                      <a:pt x="366" y="148"/>
                    </a:lnTo>
                    <a:lnTo>
                      <a:pt x="369" y="146"/>
                    </a:lnTo>
                    <a:lnTo>
                      <a:pt x="374" y="146"/>
                    </a:lnTo>
                    <a:lnTo>
                      <a:pt x="379" y="144"/>
                    </a:lnTo>
                    <a:lnTo>
                      <a:pt x="384" y="144"/>
                    </a:lnTo>
                    <a:lnTo>
                      <a:pt x="388" y="143"/>
                    </a:lnTo>
                    <a:lnTo>
                      <a:pt x="391" y="141"/>
                    </a:lnTo>
                    <a:lnTo>
                      <a:pt x="396" y="139"/>
                    </a:lnTo>
                    <a:lnTo>
                      <a:pt x="400" y="137"/>
                    </a:lnTo>
                    <a:lnTo>
                      <a:pt x="406" y="134"/>
                    </a:lnTo>
                    <a:lnTo>
                      <a:pt x="411" y="131"/>
                    </a:lnTo>
                    <a:lnTo>
                      <a:pt x="418" y="126"/>
                    </a:lnTo>
                    <a:lnTo>
                      <a:pt x="427" y="122"/>
                    </a:lnTo>
                    <a:lnTo>
                      <a:pt x="430" y="122"/>
                    </a:lnTo>
                    <a:lnTo>
                      <a:pt x="437" y="122"/>
                    </a:lnTo>
                    <a:lnTo>
                      <a:pt x="440" y="119"/>
                    </a:lnTo>
                    <a:lnTo>
                      <a:pt x="444" y="119"/>
                    </a:lnTo>
                    <a:lnTo>
                      <a:pt x="447" y="122"/>
                    </a:lnTo>
                    <a:lnTo>
                      <a:pt x="454" y="126"/>
                    </a:lnTo>
                    <a:lnTo>
                      <a:pt x="457" y="126"/>
                    </a:lnTo>
                    <a:lnTo>
                      <a:pt x="462" y="126"/>
                    </a:lnTo>
                    <a:lnTo>
                      <a:pt x="466" y="126"/>
                    </a:lnTo>
                    <a:lnTo>
                      <a:pt x="471" y="126"/>
                    </a:lnTo>
                    <a:lnTo>
                      <a:pt x="476" y="122"/>
                    </a:lnTo>
                    <a:lnTo>
                      <a:pt x="480" y="122"/>
                    </a:lnTo>
                    <a:lnTo>
                      <a:pt x="483" y="124"/>
                    </a:lnTo>
                    <a:lnTo>
                      <a:pt x="486" y="124"/>
                    </a:lnTo>
                    <a:lnTo>
                      <a:pt x="491" y="124"/>
                    </a:lnTo>
                    <a:lnTo>
                      <a:pt x="495" y="124"/>
                    </a:lnTo>
                    <a:lnTo>
                      <a:pt x="498" y="126"/>
                    </a:lnTo>
                    <a:lnTo>
                      <a:pt x="502" y="126"/>
                    </a:lnTo>
                    <a:lnTo>
                      <a:pt x="507" y="126"/>
                    </a:lnTo>
                    <a:lnTo>
                      <a:pt x="510" y="126"/>
                    </a:lnTo>
                    <a:lnTo>
                      <a:pt x="515" y="126"/>
                    </a:lnTo>
                    <a:lnTo>
                      <a:pt x="522" y="126"/>
                    </a:lnTo>
                    <a:lnTo>
                      <a:pt x="527" y="124"/>
                    </a:lnTo>
                    <a:lnTo>
                      <a:pt x="531" y="121"/>
                    </a:lnTo>
                    <a:lnTo>
                      <a:pt x="534" y="121"/>
                    </a:lnTo>
                    <a:lnTo>
                      <a:pt x="537" y="122"/>
                    </a:lnTo>
                    <a:lnTo>
                      <a:pt x="542" y="121"/>
                    </a:lnTo>
                    <a:lnTo>
                      <a:pt x="546" y="119"/>
                    </a:lnTo>
                    <a:lnTo>
                      <a:pt x="551" y="115"/>
                    </a:lnTo>
                    <a:lnTo>
                      <a:pt x="554" y="112"/>
                    </a:lnTo>
                    <a:lnTo>
                      <a:pt x="558" y="112"/>
                    </a:lnTo>
                    <a:lnTo>
                      <a:pt x="561" y="114"/>
                    </a:lnTo>
                    <a:lnTo>
                      <a:pt x="568" y="114"/>
                    </a:lnTo>
                    <a:lnTo>
                      <a:pt x="573" y="112"/>
                    </a:lnTo>
                    <a:lnTo>
                      <a:pt x="582" y="110"/>
                    </a:lnTo>
                    <a:lnTo>
                      <a:pt x="585" y="109"/>
                    </a:lnTo>
                    <a:lnTo>
                      <a:pt x="588" y="105"/>
                    </a:lnTo>
                    <a:lnTo>
                      <a:pt x="592" y="104"/>
                    </a:lnTo>
                    <a:lnTo>
                      <a:pt x="597" y="104"/>
                    </a:lnTo>
                    <a:lnTo>
                      <a:pt x="600" y="102"/>
                    </a:lnTo>
                    <a:lnTo>
                      <a:pt x="605" y="98"/>
                    </a:lnTo>
                    <a:lnTo>
                      <a:pt x="609" y="98"/>
                    </a:lnTo>
                    <a:lnTo>
                      <a:pt x="612" y="98"/>
                    </a:lnTo>
                    <a:lnTo>
                      <a:pt x="616" y="93"/>
                    </a:lnTo>
                    <a:lnTo>
                      <a:pt x="619" y="92"/>
                    </a:lnTo>
                    <a:lnTo>
                      <a:pt x="622" y="88"/>
                    </a:lnTo>
                    <a:lnTo>
                      <a:pt x="626" y="83"/>
                    </a:lnTo>
                    <a:lnTo>
                      <a:pt x="629" y="80"/>
                    </a:lnTo>
                    <a:lnTo>
                      <a:pt x="633" y="76"/>
                    </a:lnTo>
                    <a:lnTo>
                      <a:pt x="636" y="70"/>
                    </a:lnTo>
                    <a:lnTo>
                      <a:pt x="639" y="65"/>
                    </a:lnTo>
                    <a:lnTo>
                      <a:pt x="646" y="66"/>
                    </a:lnTo>
                    <a:lnTo>
                      <a:pt x="650" y="66"/>
                    </a:lnTo>
                    <a:lnTo>
                      <a:pt x="653" y="68"/>
                    </a:lnTo>
                    <a:lnTo>
                      <a:pt x="656" y="65"/>
                    </a:lnTo>
                    <a:lnTo>
                      <a:pt x="662" y="65"/>
                    </a:lnTo>
                    <a:lnTo>
                      <a:pt x="667" y="63"/>
                    </a:lnTo>
                    <a:lnTo>
                      <a:pt x="670" y="61"/>
                    </a:lnTo>
                    <a:lnTo>
                      <a:pt x="673" y="59"/>
                    </a:lnTo>
                    <a:lnTo>
                      <a:pt x="680" y="58"/>
                    </a:lnTo>
                    <a:lnTo>
                      <a:pt x="684" y="54"/>
                    </a:lnTo>
                    <a:lnTo>
                      <a:pt x="687" y="51"/>
                    </a:lnTo>
                    <a:lnTo>
                      <a:pt x="690" y="53"/>
                    </a:lnTo>
                    <a:lnTo>
                      <a:pt x="697" y="56"/>
                    </a:lnTo>
                    <a:lnTo>
                      <a:pt x="701" y="61"/>
                    </a:lnTo>
                    <a:lnTo>
                      <a:pt x="706" y="65"/>
                    </a:lnTo>
                    <a:lnTo>
                      <a:pt x="714" y="65"/>
                    </a:lnTo>
                    <a:lnTo>
                      <a:pt x="719" y="63"/>
                    </a:lnTo>
                    <a:lnTo>
                      <a:pt x="724" y="63"/>
                    </a:lnTo>
                    <a:lnTo>
                      <a:pt x="728" y="66"/>
                    </a:lnTo>
                    <a:lnTo>
                      <a:pt x="731" y="71"/>
                    </a:lnTo>
                    <a:lnTo>
                      <a:pt x="735" y="73"/>
                    </a:lnTo>
                    <a:lnTo>
                      <a:pt x="740" y="71"/>
                    </a:lnTo>
                    <a:lnTo>
                      <a:pt x="743" y="71"/>
                    </a:lnTo>
                    <a:lnTo>
                      <a:pt x="748" y="65"/>
                    </a:lnTo>
                    <a:lnTo>
                      <a:pt x="753" y="65"/>
                    </a:lnTo>
                    <a:lnTo>
                      <a:pt x="757" y="61"/>
                    </a:lnTo>
                    <a:lnTo>
                      <a:pt x="762" y="58"/>
                    </a:lnTo>
                    <a:lnTo>
                      <a:pt x="764" y="54"/>
                    </a:lnTo>
                    <a:lnTo>
                      <a:pt x="769" y="48"/>
                    </a:lnTo>
                    <a:lnTo>
                      <a:pt x="772" y="44"/>
                    </a:lnTo>
                    <a:lnTo>
                      <a:pt x="774" y="39"/>
                    </a:lnTo>
                    <a:lnTo>
                      <a:pt x="776" y="32"/>
                    </a:lnTo>
                    <a:lnTo>
                      <a:pt x="776" y="29"/>
                    </a:lnTo>
                    <a:lnTo>
                      <a:pt x="776" y="26"/>
                    </a:lnTo>
                    <a:lnTo>
                      <a:pt x="776" y="22"/>
                    </a:lnTo>
                    <a:lnTo>
                      <a:pt x="776" y="19"/>
                    </a:lnTo>
                    <a:lnTo>
                      <a:pt x="779" y="22"/>
                    </a:lnTo>
                    <a:lnTo>
                      <a:pt x="779" y="31"/>
                    </a:lnTo>
                    <a:lnTo>
                      <a:pt x="777" y="36"/>
                    </a:lnTo>
                    <a:lnTo>
                      <a:pt x="781" y="37"/>
                    </a:lnTo>
                    <a:lnTo>
                      <a:pt x="786" y="39"/>
                    </a:lnTo>
                    <a:lnTo>
                      <a:pt x="793" y="39"/>
                    </a:lnTo>
                    <a:lnTo>
                      <a:pt x="796" y="37"/>
                    </a:lnTo>
                    <a:lnTo>
                      <a:pt x="801" y="34"/>
                    </a:lnTo>
                    <a:lnTo>
                      <a:pt x="806" y="34"/>
                    </a:lnTo>
                    <a:lnTo>
                      <a:pt x="810" y="34"/>
                    </a:lnTo>
                    <a:lnTo>
                      <a:pt x="813" y="31"/>
                    </a:lnTo>
                    <a:lnTo>
                      <a:pt x="816" y="31"/>
                    </a:lnTo>
                    <a:lnTo>
                      <a:pt x="821" y="27"/>
                    </a:lnTo>
                    <a:lnTo>
                      <a:pt x="827" y="24"/>
                    </a:lnTo>
                    <a:lnTo>
                      <a:pt x="833" y="20"/>
                    </a:lnTo>
                    <a:lnTo>
                      <a:pt x="837" y="17"/>
                    </a:lnTo>
                    <a:lnTo>
                      <a:pt x="840" y="14"/>
                    </a:lnTo>
                    <a:lnTo>
                      <a:pt x="845" y="10"/>
                    </a:lnTo>
                    <a:lnTo>
                      <a:pt x="850" y="5"/>
                    </a:lnTo>
                    <a:lnTo>
                      <a:pt x="854" y="2"/>
                    </a:lnTo>
                    <a:lnTo>
                      <a:pt x="859" y="0"/>
                    </a:lnTo>
                    <a:lnTo>
                      <a:pt x="862" y="0"/>
                    </a:lnTo>
                    <a:lnTo>
                      <a:pt x="866" y="4"/>
                    </a:lnTo>
                    <a:lnTo>
                      <a:pt x="871" y="5"/>
                    </a:lnTo>
                    <a:lnTo>
                      <a:pt x="878" y="9"/>
                    </a:lnTo>
                    <a:lnTo>
                      <a:pt x="881" y="9"/>
                    </a:lnTo>
                    <a:lnTo>
                      <a:pt x="884" y="9"/>
                    </a:lnTo>
                    <a:lnTo>
                      <a:pt x="888" y="9"/>
                    </a:lnTo>
                    <a:lnTo>
                      <a:pt x="884" y="14"/>
                    </a:lnTo>
                    <a:lnTo>
                      <a:pt x="879" y="15"/>
                    </a:lnTo>
                    <a:lnTo>
                      <a:pt x="872" y="17"/>
                    </a:lnTo>
                    <a:lnTo>
                      <a:pt x="869" y="24"/>
                    </a:lnTo>
                    <a:lnTo>
                      <a:pt x="867" y="27"/>
                    </a:lnTo>
                    <a:lnTo>
                      <a:pt x="867" y="34"/>
                    </a:lnTo>
                    <a:lnTo>
                      <a:pt x="866" y="37"/>
                    </a:lnTo>
                    <a:lnTo>
                      <a:pt x="869" y="36"/>
                    </a:lnTo>
                    <a:lnTo>
                      <a:pt x="869" y="39"/>
                    </a:lnTo>
                    <a:lnTo>
                      <a:pt x="866" y="46"/>
                    </a:lnTo>
                    <a:lnTo>
                      <a:pt x="861" y="58"/>
                    </a:lnTo>
                    <a:lnTo>
                      <a:pt x="857" y="61"/>
                    </a:lnTo>
                    <a:lnTo>
                      <a:pt x="854" y="71"/>
                    </a:lnTo>
                    <a:lnTo>
                      <a:pt x="850" y="82"/>
                    </a:lnTo>
                    <a:lnTo>
                      <a:pt x="849" y="85"/>
                    </a:lnTo>
                    <a:lnTo>
                      <a:pt x="847" y="88"/>
                    </a:lnTo>
                    <a:lnTo>
                      <a:pt x="844" y="92"/>
                    </a:lnTo>
                    <a:lnTo>
                      <a:pt x="838" y="98"/>
                    </a:lnTo>
                    <a:lnTo>
                      <a:pt x="835" y="105"/>
                    </a:lnTo>
                    <a:lnTo>
                      <a:pt x="833" y="109"/>
                    </a:lnTo>
                    <a:lnTo>
                      <a:pt x="828" y="115"/>
                    </a:lnTo>
                    <a:lnTo>
                      <a:pt x="823" y="122"/>
                    </a:lnTo>
                    <a:lnTo>
                      <a:pt x="821" y="126"/>
                    </a:lnTo>
                    <a:lnTo>
                      <a:pt x="820" y="129"/>
                    </a:lnTo>
                    <a:lnTo>
                      <a:pt x="816" y="134"/>
                    </a:lnTo>
                    <a:lnTo>
                      <a:pt x="815" y="137"/>
                    </a:lnTo>
                    <a:lnTo>
                      <a:pt x="813" y="143"/>
                    </a:lnTo>
                    <a:lnTo>
                      <a:pt x="810" y="146"/>
                    </a:lnTo>
                    <a:lnTo>
                      <a:pt x="806" y="149"/>
                    </a:lnTo>
                    <a:lnTo>
                      <a:pt x="803" y="153"/>
                    </a:lnTo>
                    <a:lnTo>
                      <a:pt x="803" y="158"/>
                    </a:lnTo>
                    <a:lnTo>
                      <a:pt x="801" y="161"/>
                    </a:lnTo>
                    <a:lnTo>
                      <a:pt x="799" y="165"/>
                    </a:lnTo>
                    <a:lnTo>
                      <a:pt x="796" y="170"/>
                    </a:lnTo>
                    <a:lnTo>
                      <a:pt x="794" y="173"/>
                    </a:lnTo>
                    <a:lnTo>
                      <a:pt x="794" y="176"/>
                    </a:lnTo>
                    <a:lnTo>
                      <a:pt x="791" y="180"/>
                    </a:lnTo>
                    <a:lnTo>
                      <a:pt x="787" y="185"/>
                    </a:lnTo>
                    <a:lnTo>
                      <a:pt x="782" y="193"/>
                    </a:lnTo>
                    <a:lnTo>
                      <a:pt x="781" y="197"/>
                    </a:lnTo>
                    <a:lnTo>
                      <a:pt x="779" y="204"/>
                    </a:lnTo>
                    <a:lnTo>
                      <a:pt x="779" y="207"/>
                    </a:lnTo>
                    <a:lnTo>
                      <a:pt x="782" y="210"/>
                    </a:lnTo>
                    <a:lnTo>
                      <a:pt x="782" y="216"/>
                    </a:lnTo>
                    <a:lnTo>
                      <a:pt x="782" y="219"/>
                    </a:lnTo>
                    <a:lnTo>
                      <a:pt x="779" y="222"/>
                    </a:lnTo>
                    <a:lnTo>
                      <a:pt x="779" y="227"/>
                    </a:lnTo>
                    <a:lnTo>
                      <a:pt x="779" y="231"/>
                    </a:lnTo>
                    <a:lnTo>
                      <a:pt x="779" y="234"/>
                    </a:lnTo>
                    <a:lnTo>
                      <a:pt x="776" y="239"/>
                    </a:lnTo>
                    <a:lnTo>
                      <a:pt x="772" y="243"/>
                    </a:lnTo>
                    <a:lnTo>
                      <a:pt x="772" y="248"/>
                    </a:lnTo>
                    <a:lnTo>
                      <a:pt x="772" y="256"/>
                    </a:lnTo>
                    <a:lnTo>
                      <a:pt x="774" y="260"/>
                    </a:lnTo>
                    <a:lnTo>
                      <a:pt x="774" y="263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 dirty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2" name="Line 129">
                <a:extLst>
                  <a:ext uri="{FF2B5EF4-FFF2-40B4-BE49-F238E27FC236}">
                    <a16:creationId xmlns:a16="http://schemas.microsoft.com/office/drawing/2014/main" id="{3B479583-8D45-645A-7B52-FCB08A464F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6563" y="52673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3" name="Line 130">
                <a:extLst>
                  <a:ext uri="{FF2B5EF4-FFF2-40B4-BE49-F238E27FC236}">
                    <a16:creationId xmlns:a16="http://schemas.microsoft.com/office/drawing/2014/main" id="{B56C70C9-EE1F-F76A-CB04-EE30C39065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97538" y="525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4" name="Line 131">
                <a:extLst>
                  <a:ext uri="{FF2B5EF4-FFF2-40B4-BE49-F238E27FC236}">
                    <a16:creationId xmlns:a16="http://schemas.microsoft.com/office/drawing/2014/main" id="{9DC9669B-B795-792F-59AD-803F47E568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00713" y="525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5" name="Line 132">
                <a:extLst>
                  <a:ext uri="{FF2B5EF4-FFF2-40B4-BE49-F238E27FC236}">
                    <a16:creationId xmlns:a16="http://schemas.microsoft.com/office/drawing/2014/main" id="{5B7428E7-23AC-9EE2-3AAE-05578BD8A6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6588" y="525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6" name="Line 133">
                <a:extLst>
                  <a:ext uri="{FF2B5EF4-FFF2-40B4-BE49-F238E27FC236}">
                    <a16:creationId xmlns:a16="http://schemas.microsoft.com/office/drawing/2014/main" id="{F4C6CCDD-61D7-69F2-FF49-CEEFE594EF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92775" y="52514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7" name="Line 134">
                <a:extLst>
                  <a:ext uri="{FF2B5EF4-FFF2-40B4-BE49-F238E27FC236}">
                    <a16:creationId xmlns:a16="http://schemas.microsoft.com/office/drawing/2014/main" id="{3C899BEB-7B4C-FD36-FF27-3874295A3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7700" y="52482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8" name="Line 135">
                <a:extLst>
                  <a:ext uri="{FF2B5EF4-FFF2-40B4-BE49-F238E27FC236}">
                    <a16:creationId xmlns:a16="http://schemas.microsoft.com/office/drawing/2014/main" id="{F490102B-555F-8A8B-704F-4D11D71CBA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73725" y="52371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09" name="Line 136">
                <a:extLst>
                  <a:ext uri="{FF2B5EF4-FFF2-40B4-BE49-F238E27FC236}">
                    <a16:creationId xmlns:a16="http://schemas.microsoft.com/office/drawing/2014/main" id="{C2C5424C-AD75-BA89-58BE-9DB7887CDC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51500" y="52403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0" name="Line 137">
                <a:extLst>
                  <a:ext uri="{FF2B5EF4-FFF2-40B4-BE49-F238E27FC236}">
                    <a16:creationId xmlns:a16="http://schemas.microsoft.com/office/drawing/2014/main" id="{BF7C83C1-6E2F-5C95-1BE2-D19AA76028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35613" y="52260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1" name="Line 138">
                <a:extLst>
                  <a:ext uri="{FF2B5EF4-FFF2-40B4-BE49-F238E27FC236}">
                    <a16:creationId xmlns:a16="http://schemas.microsoft.com/office/drawing/2014/main" id="{A5D442EF-483C-C91D-8D35-83F33EEE71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35613" y="52244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2" name="Line 139">
                <a:extLst>
                  <a:ext uri="{FF2B5EF4-FFF2-40B4-BE49-F238E27FC236}">
                    <a16:creationId xmlns:a16="http://schemas.microsoft.com/office/drawing/2014/main" id="{431E37D8-2B56-BEEF-E45B-FC311004CF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4850" y="51974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3" name="Line 140">
                <a:extLst>
                  <a:ext uri="{FF2B5EF4-FFF2-40B4-BE49-F238E27FC236}">
                    <a16:creationId xmlns:a16="http://schemas.microsoft.com/office/drawing/2014/main" id="{A674799D-B472-E1B6-6EF6-3597641E2D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9613" y="5189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4" name="Line 141">
                <a:extLst>
                  <a:ext uri="{FF2B5EF4-FFF2-40B4-BE49-F238E27FC236}">
                    <a16:creationId xmlns:a16="http://schemas.microsoft.com/office/drawing/2014/main" id="{D29AE3B5-08AD-8BF7-B961-5A8D5E168E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08688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5" name="Line 142">
                <a:extLst>
                  <a:ext uri="{FF2B5EF4-FFF2-40B4-BE49-F238E27FC236}">
                    <a16:creationId xmlns:a16="http://schemas.microsoft.com/office/drawing/2014/main" id="{4B4AA886-BE10-22D6-1759-DB48F4CAEE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41963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6" name="Line 143">
                <a:extLst>
                  <a:ext uri="{FF2B5EF4-FFF2-40B4-BE49-F238E27FC236}">
                    <a16:creationId xmlns:a16="http://schemas.microsoft.com/office/drawing/2014/main" id="{ABBC488D-B2CC-B887-3E73-544614ACA3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1863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7" name="Line 144">
                <a:extLst>
                  <a:ext uri="{FF2B5EF4-FFF2-40B4-BE49-F238E27FC236}">
                    <a16:creationId xmlns:a16="http://schemas.microsoft.com/office/drawing/2014/main" id="{C8EE6D64-3305-663C-DF45-E62C4D3C17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1863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8" name="Line 145">
                <a:extLst>
                  <a:ext uri="{FF2B5EF4-FFF2-40B4-BE49-F238E27FC236}">
                    <a16:creationId xmlns:a16="http://schemas.microsoft.com/office/drawing/2014/main" id="{E064022C-4390-6A1F-E3F1-7DBFC7F8E5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08688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19" name="Line 146">
                <a:extLst>
                  <a:ext uri="{FF2B5EF4-FFF2-40B4-BE49-F238E27FC236}">
                    <a16:creationId xmlns:a16="http://schemas.microsoft.com/office/drawing/2014/main" id="{9DA0F679-4DE9-9170-4208-490E908BDE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08688" y="5143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0" name="Line 147">
                <a:extLst>
                  <a:ext uri="{FF2B5EF4-FFF2-40B4-BE49-F238E27FC236}">
                    <a16:creationId xmlns:a16="http://schemas.microsoft.com/office/drawing/2014/main" id="{7CF363BC-40E4-664A-414A-B3B2A7A2C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30850" y="51323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1" name="Freeform 148">
                <a:extLst>
                  <a:ext uri="{FF2B5EF4-FFF2-40B4-BE49-F238E27FC236}">
                    <a16:creationId xmlns:a16="http://schemas.microsoft.com/office/drawing/2014/main" id="{372DD002-3DBE-B784-39C5-17F95EC77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8850" y="5108575"/>
                <a:ext cx="0" cy="4762"/>
              </a:xfrm>
              <a:custGeom>
                <a:avLst/>
                <a:gdLst>
                  <a:gd name="T0" fmla="*/ 0 h 3"/>
                  <a:gd name="T1" fmla="*/ 3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2" name="Line 149">
                <a:extLst>
                  <a:ext uri="{FF2B5EF4-FFF2-40B4-BE49-F238E27FC236}">
                    <a16:creationId xmlns:a16="http://schemas.microsoft.com/office/drawing/2014/main" id="{3AEB02A2-C32A-4821-E318-6183F67E9E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8850" y="51085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3" name="Line 150">
                <a:extLst>
                  <a:ext uri="{FF2B5EF4-FFF2-40B4-BE49-F238E27FC236}">
                    <a16:creationId xmlns:a16="http://schemas.microsoft.com/office/drawing/2014/main" id="{D1E2B2F1-5308-5A38-43A3-0F9E12F414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8850" y="51054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4" name="Line 151">
                <a:extLst>
                  <a:ext uri="{FF2B5EF4-FFF2-40B4-BE49-F238E27FC236}">
                    <a16:creationId xmlns:a16="http://schemas.microsoft.com/office/drawing/2014/main" id="{95A670F1-A937-91A8-ED43-75E4027AF4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8850" y="51054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5" name="Line 152">
                <a:extLst>
                  <a:ext uri="{FF2B5EF4-FFF2-40B4-BE49-F238E27FC236}">
                    <a16:creationId xmlns:a16="http://schemas.microsoft.com/office/drawing/2014/main" id="{E4FE91C1-251E-A9AF-2C0C-B93719F113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54650" y="50927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6" name="Line 153">
                <a:extLst>
                  <a:ext uri="{FF2B5EF4-FFF2-40B4-BE49-F238E27FC236}">
                    <a16:creationId xmlns:a16="http://schemas.microsoft.com/office/drawing/2014/main" id="{4290DFCA-EA9C-1101-F1FB-54E6783B9A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0050" y="50863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7" name="Freeform 154">
                <a:extLst>
                  <a:ext uri="{FF2B5EF4-FFF2-40B4-BE49-F238E27FC236}">
                    <a16:creationId xmlns:a16="http://schemas.microsoft.com/office/drawing/2014/main" id="{A4EAD037-FD99-5EF2-7462-49322039C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775" y="5086350"/>
                <a:ext cx="34925" cy="49212"/>
              </a:xfrm>
              <a:custGeom>
                <a:avLst/>
                <a:gdLst>
                  <a:gd name="T0" fmla="*/ 22 w 22"/>
                  <a:gd name="T1" fmla="*/ 2 h 31"/>
                  <a:gd name="T2" fmla="*/ 22 w 22"/>
                  <a:gd name="T3" fmla="*/ 5 h 31"/>
                  <a:gd name="T4" fmla="*/ 22 w 22"/>
                  <a:gd name="T5" fmla="*/ 10 h 31"/>
                  <a:gd name="T6" fmla="*/ 22 w 22"/>
                  <a:gd name="T7" fmla="*/ 15 h 31"/>
                  <a:gd name="T8" fmla="*/ 22 w 22"/>
                  <a:gd name="T9" fmla="*/ 19 h 31"/>
                  <a:gd name="T10" fmla="*/ 22 w 22"/>
                  <a:gd name="T11" fmla="*/ 26 h 31"/>
                  <a:gd name="T12" fmla="*/ 20 w 22"/>
                  <a:gd name="T13" fmla="*/ 29 h 31"/>
                  <a:gd name="T14" fmla="*/ 17 w 22"/>
                  <a:gd name="T15" fmla="*/ 31 h 31"/>
                  <a:gd name="T16" fmla="*/ 12 w 22"/>
                  <a:gd name="T17" fmla="*/ 31 h 31"/>
                  <a:gd name="T18" fmla="*/ 9 w 22"/>
                  <a:gd name="T19" fmla="*/ 29 h 31"/>
                  <a:gd name="T20" fmla="*/ 7 w 22"/>
                  <a:gd name="T21" fmla="*/ 24 h 31"/>
                  <a:gd name="T22" fmla="*/ 7 w 22"/>
                  <a:gd name="T23" fmla="*/ 19 h 31"/>
                  <a:gd name="T24" fmla="*/ 3 w 22"/>
                  <a:gd name="T25" fmla="*/ 15 h 31"/>
                  <a:gd name="T26" fmla="*/ 0 w 22"/>
                  <a:gd name="T27" fmla="*/ 15 h 31"/>
                  <a:gd name="T28" fmla="*/ 0 w 22"/>
                  <a:gd name="T29" fmla="*/ 9 h 31"/>
                  <a:gd name="T30" fmla="*/ 5 w 22"/>
                  <a:gd name="T31" fmla="*/ 5 h 31"/>
                  <a:gd name="T32" fmla="*/ 10 w 22"/>
                  <a:gd name="T33" fmla="*/ 4 h 31"/>
                  <a:gd name="T34" fmla="*/ 17 w 22"/>
                  <a:gd name="T35" fmla="*/ 2 h 31"/>
                  <a:gd name="T36" fmla="*/ 20 w 22"/>
                  <a:gd name="T37" fmla="*/ 0 h 31"/>
                  <a:gd name="T38" fmla="*/ 22 w 22"/>
                  <a:gd name="T3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31">
                    <a:moveTo>
                      <a:pt x="22" y="2"/>
                    </a:moveTo>
                    <a:lnTo>
                      <a:pt x="22" y="5"/>
                    </a:lnTo>
                    <a:lnTo>
                      <a:pt x="22" y="10"/>
                    </a:lnTo>
                    <a:lnTo>
                      <a:pt x="22" y="15"/>
                    </a:lnTo>
                    <a:lnTo>
                      <a:pt x="22" y="19"/>
                    </a:lnTo>
                    <a:lnTo>
                      <a:pt x="22" y="26"/>
                    </a:lnTo>
                    <a:lnTo>
                      <a:pt x="20" y="29"/>
                    </a:lnTo>
                    <a:lnTo>
                      <a:pt x="17" y="31"/>
                    </a:lnTo>
                    <a:lnTo>
                      <a:pt x="12" y="31"/>
                    </a:lnTo>
                    <a:lnTo>
                      <a:pt x="9" y="29"/>
                    </a:lnTo>
                    <a:lnTo>
                      <a:pt x="7" y="24"/>
                    </a:lnTo>
                    <a:lnTo>
                      <a:pt x="7" y="19"/>
                    </a:lnTo>
                    <a:lnTo>
                      <a:pt x="3" y="15"/>
                    </a:lnTo>
                    <a:lnTo>
                      <a:pt x="0" y="15"/>
                    </a:lnTo>
                    <a:lnTo>
                      <a:pt x="0" y="9"/>
                    </a:lnTo>
                    <a:lnTo>
                      <a:pt x="5" y="5"/>
                    </a:lnTo>
                    <a:lnTo>
                      <a:pt x="10" y="4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22" y="2"/>
                    </a:lnTo>
                    <a:close/>
                  </a:path>
                </a:pathLst>
              </a:cu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8" name="Line 155">
                <a:extLst>
                  <a:ext uri="{FF2B5EF4-FFF2-40B4-BE49-F238E27FC236}">
                    <a16:creationId xmlns:a16="http://schemas.microsoft.com/office/drawing/2014/main" id="{D0F98FF3-5E53-A0B1-B917-463BD4073E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1638" y="50847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29" name="Line 156">
                <a:extLst>
                  <a:ext uri="{FF2B5EF4-FFF2-40B4-BE49-F238E27FC236}">
                    <a16:creationId xmlns:a16="http://schemas.microsoft.com/office/drawing/2014/main" id="{74DA42E2-58EA-D8E3-7CBC-CED6FA53AC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95925" y="5062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0" name="Line 157">
                <a:extLst>
                  <a:ext uri="{FF2B5EF4-FFF2-40B4-BE49-F238E27FC236}">
                    <a16:creationId xmlns:a16="http://schemas.microsoft.com/office/drawing/2014/main" id="{2A0199C6-57FC-0CFF-BD87-BE555612E0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95925" y="50625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1" name="Line 158">
                <a:extLst>
                  <a:ext uri="{FF2B5EF4-FFF2-40B4-BE49-F238E27FC236}">
                    <a16:creationId xmlns:a16="http://schemas.microsoft.com/office/drawing/2014/main" id="{2764B134-92FD-CFB7-8462-893FDDC159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6788" y="5016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2" name="Line 159">
                <a:extLst>
                  <a:ext uri="{FF2B5EF4-FFF2-40B4-BE49-F238E27FC236}">
                    <a16:creationId xmlns:a16="http://schemas.microsoft.com/office/drawing/2014/main" id="{94BACF10-4F8F-3593-942F-3846F0663A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4975" y="50038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3" name="Line 160">
                <a:extLst>
                  <a:ext uri="{FF2B5EF4-FFF2-40B4-BE49-F238E27FC236}">
                    <a16:creationId xmlns:a16="http://schemas.microsoft.com/office/drawing/2014/main" id="{0D22BF38-C6C4-62D3-E1F8-44F43027CB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9488" y="48958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4" name="Line 161">
                <a:extLst>
                  <a:ext uri="{FF2B5EF4-FFF2-40B4-BE49-F238E27FC236}">
                    <a16:creationId xmlns:a16="http://schemas.microsoft.com/office/drawing/2014/main" id="{00C2B96A-0711-9EB6-16A7-CAE5993361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9488" y="48958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5" name="Line 162">
                <a:extLst>
                  <a:ext uri="{FF2B5EF4-FFF2-40B4-BE49-F238E27FC236}">
                    <a16:creationId xmlns:a16="http://schemas.microsoft.com/office/drawing/2014/main" id="{E833CBEA-CA99-A92C-F33F-8A31408C15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2588" y="46958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6" name="Line 163">
                <a:extLst>
                  <a:ext uri="{FF2B5EF4-FFF2-40B4-BE49-F238E27FC236}">
                    <a16:creationId xmlns:a16="http://schemas.microsoft.com/office/drawing/2014/main" id="{0D347EF5-0AED-9C94-78D2-E2FEF2B770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8538" y="46482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7" name="Line 164">
                <a:extLst>
                  <a:ext uri="{FF2B5EF4-FFF2-40B4-BE49-F238E27FC236}">
                    <a16:creationId xmlns:a16="http://schemas.microsoft.com/office/drawing/2014/main" id="{CAAA385E-7736-98A1-8844-599FAD9157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8538" y="4645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8" name="Line 165">
                <a:extLst>
                  <a:ext uri="{FF2B5EF4-FFF2-40B4-BE49-F238E27FC236}">
                    <a16:creationId xmlns:a16="http://schemas.microsoft.com/office/drawing/2014/main" id="{880B0629-B3DE-4565-7349-15C86F5E5F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8538" y="4645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39" name="Line 166">
                <a:extLst>
                  <a:ext uri="{FF2B5EF4-FFF2-40B4-BE49-F238E27FC236}">
                    <a16:creationId xmlns:a16="http://schemas.microsoft.com/office/drawing/2014/main" id="{E68533AB-8B73-77A7-62B2-6188AA4485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0050" y="46339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0" name="Line 167">
                <a:extLst>
                  <a:ext uri="{FF2B5EF4-FFF2-40B4-BE49-F238E27FC236}">
                    <a16:creationId xmlns:a16="http://schemas.microsoft.com/office/drawing/2014/main" id="{164890B4-C8BC-403E-DEC1-58FEC25277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9738" y="46021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1" name="Line 168">
                <a:extLst>
                  <a:ext uri="{FF2B5EF4-FFF2-40B4-BE49-F238E27FC236}">
                    <a16:creationId xmlns:a16="http://schemas.microsoft.com/office/drawing/2014/main" id="{4987496B-70F1-365D-F315-69F1B919A6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4663" y="4579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2" name="Line 169">
                <a:extLst>
                  <a:ext uri="{FF2B5EF4-FFF2-40B4-BE49-F238E27FC236}">
                    <a16:creationId xmlns:a16="http://schemas.microsoft.com/office/drawing/2014/main" id="{220C9E7A-A090-C45B-A0EC-83E9523EF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4663" y="4579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3" name="Line 170">
                <a:extLst>
                  <a:ext uri="{FF2B5EF4-FFF2-40B4-BE49-F238E27FC236}">
                    <a16:creationId xmlns:a16="http://schemas.microsoft.com/office/drawing/2014/main" id="{9D207E0C-4CB0-7569-DACC-1F826287F3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4663" y="4579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4" name="Line 171">
                <a:extLst>
                  <a:ext uri="{FF2B5EF4-FFF2-40B4-BE49-F238E27FC236}">
                    <a16:creationId xmlns:a16="http://schemas.microsoft.com/office/drawing/2014/main" id="{593C6B40-F7ED-91DC-C707-1F8C271E6F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4663" y="45783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5" name="Line 172">
                <a:extLst>
                  <a:ext uri="{FF2B5EF4-FFF2-40B4-BE49-F238E27FC236}">
                    <a16:creationId xmlns:a16="http://schemas.microsoft.com/office/drawing/2014/main" id="{F9277E41-95D2-6C6B-4E75-BE26C10E20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41963" y="45132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6" name="Line 173">
                <a:extLst>
                  <a:ext uri="{FF2B5EF4-FFF2-40B4-BE49-F238E27FC236}">
                    <a16:creationId xmlns:a16="http://schemas.microsoft.com/office/drawing/2014/main" id="{4F4AD89A-8796-AE37-DE24-D8945057A7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08625" y="44323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7" name="Line 174">
                <a:extLst>
                  <a:ext uri="{FF2B5EF4-FFF2-40B4-BE49-F238E27FC236}">
                    <a16:creationId xmlns:a16="http://schemas.microsoft.com/office/drawing/2014/main" id="{E642563A-97D8-9A90-0F9D-88C2ED25CB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92750" y="43545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8" name="Line 175">
                <a:extLst>
                  <a:ext uri="{FF2B5EF4-FFF2-40B4-BE49-F238E27FC236}">
                    <a16:creationId xmlns:a16="http://schemas.microsoft.com/office/drawing/2014/main" id="{2F547B6F-9812-6DAB-8603-DE5D2297D1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4575" y="43307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49" name="Line 176">
                <a:extLst>
                  <a:ext uri="{FF2B5EF4-FFF2-40B4-BE49-F238E27FC236}">
                    <a16:creationId xmlns:a16="http://schemas.microsoft.com/office/drawing/2014/main" id="{F707695A-315C-1EC8-5640-F9DCB55EEE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6875" y="43132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0" name="Line 177">
                <a:extLst>
                  <a:ext uri="{FF2B5EF4-FFF2-40B4-BE49-F238E27FC236}">
                    <a16:creationId xmlns:a16="http://schemas.microsoft.com/office/drawing/2014/main" id="{B2E92D81-C974-E65B-EAD4-9FDBFB0D4F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14963" y="43132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1" name="Line 178">
                <a:extLst>
                  <a:ext uri="{FF2B5EF4-FFF2-40B4-BE49-F238E27FC236}">
                    <a16:creationId xmlns:a16="http://schemas.microsoft.com/office/drawing/2014/main" id="{14B905B6-E6A9-4AC3-281E-5AABE30227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08613" y="42926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2" name="Line 179">
                <a:extLst>
                  <a:ext uri="{FF2B5EF4-FFF2-40B4-BE49-F238E27FC236}">
                    <a16:creationId xmlns:a16="http://schemas.microsoft.com/office/drawing/2014/main" id="{894B220F-B5C9-F67A-A2C3-EAE0E8D9A7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00763" y="42497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3" name="Line 180">
                <a:extLst>
                  <a:ext uri="{FF2B5EF4-FFF2-40B4-BE49-F238E27FC236}">
                    <a16:creationId xmlns:a16="http://schemas.microsoft.com/office/drawing/2014/main" id="{E96484AE-3B5F-26AC-16D8-D5FD44A23A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8538" y="42227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4" name="Line 181">
                <a:extLst>
                  <a:ext uri="{FF2B5EF4-FFF2-40B4-BE49-F238E27FC236}">
                    <a16:creationId xmlns:a16="http://schemas.microsoft.com/office/drawing/2014/main" id="{DD6807D1-7CD2-EBBE-897B-644CAE90BC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6950" y="41719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5" name="Line 182">
                <a:extLst>
                  <a:ext uri="{FF2B5EF4-FFF2-40B4-BE49-F238E27FC236}">
                    <a16:creationId xmlns:a16="http://schemas.microsoft.com/office/drawing/2014/main" id="{0CA7F721-5932-A8ED-E06B-E4BA41D346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81713" y="41608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6" name="Line 183">
                <a:extLst>
                  <a:ext uri="{FF2B5EF4-FFF2-40B4-BE49-F238E27FC236}">
                    <a16:creationId xmlns:a16="http://schemas.microsoft.com/office/drawing/2014/main" id="{D0281B5E-9DF5-BA43-20CD-718A49163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81713" y="41608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7" name="Line 184">
                <a:extLst>
                  <a:ext uri="{FF2B5EF4-FFF2-40B4-BE49-F238E27FC236}">
                    <a16:creationId xmlns:a16="http://schemas.microsoft.com/office/drawing/2014/main" id="{522F8143-0306-388E-AF57-45D8F5F7AC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62663" y="41497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8" name="Line 185">
                <a:extLst>
                  <a:ext uri="{FF2B5EF4-FFF2-40B4-BE49-F238E27FC236}">
                    <a16:creationId xmlns:a16="http://schemas.microsoft.com/office/drawing/2014/main" id="{D60E52CB-9D94-4AC0-8551-9981B74941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6950" y="41449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59" name="Line 186">
                <a:extLst>
                  <a:ext uri="{FF2B5EF4-FFF2-40B4-BE49-F238E27FC236}">
                    <a16:creationId xmlns:a16="http://schemas.microsoft.com/office/drawing/2014/main" id="{CA498FA0-D80C-B134-44D6-50B1298CCB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05525" y="41449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0" name="Line 187">
                <a:extLst>
                  <a:ext uri="{FF2B5EF4-FFF2-40B4-BE49-F238E27FC236}">
                    <a16:creationId xmlns:a16="http://schemas.microsoft.com/office/drawing/2014/main" id="{659D3706-1248-F44F-118A-D6BF964855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9488" y="41417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1" name="Line 188">
                <a:extLst>
                  <a:ext uri="{FF2B5EF4-FFF2-40B4-BE49-F238E27FC236}">
                    <a16:creationId xmlns:a16="http://schemas.microsoft.com/office/drawing/2014/main" id="{D3596EFF-987B-0B31-A429-05FC0D1532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1950" y="41417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2" name="Line 189">
                <a:extLst>
                  <a:ext uri="{FF2B5EF4-FFF2-40B4-BE49-F238E27FC236}">
                    <a16:creationId xmlns:a16="http://schemas.microsoft.com/office/drawing/2014/main" id="{095F02B7-A62F-2F48-1797-43EBA011C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6788" y="4137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3" name="Line 190">
                <a:extLst>
                  <a:ext uri="{FF2B5EF4-FFF2-40B4-BE49-F238E27FC236}">
                    <a16:creationId xmlns:a16="http://schemas.microsoft.com/office/drawing/2014/main" id="{82280AA0-49CC-17A0-8E04-6C2A5F9D50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1550" y="4137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4" name="Line 191">
                <a:extLst>
                  <a:ext uri="{FF2B5EF4-FFF2-40B4-BE49-F238E27FC236}">
                    <a16:creationId xmlns:a16="http://schemas.microsoft.com/office/drawing/2014/main" id="{3B3DCC29-F5CF-AF9C-939E-ED6E875B4D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57900" y="41338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5" name="Line 192">
                <a:extLst>
                  <a:ext uri="{FF2B5EF4-FFF2-40B4-BE49-F238E27FC236}">
                    <a16:creationId xmlns:a16="http://schemas.microsoft.com/office/drawing/2014/main" id="{86850C6E-13D4-E497-6480-67F4082132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62663" y="41306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6" name="Line 193">
                <a:extLst>
                  <a:ext uri="{FF2B5EF4-FFF2-40B4-BE49-F238E27FC236}">
                    <a16:creationId xmlns:a16="http://schemas.microsoft.com/office/drawing/2014/main" id="{1F82FFAA-531D-844F-3E0F-99CC5CAE5A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2975" y="41275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7" name="Line 194">
                <a:extLst>
                  <a:ext uri="{FF2B5EF4-FFF2-40B4-BE49-F238E27FC236}">
                    <a16:creationId xmlns:a16="http://schemas.microsoft.com/office/drawing/2014/main" id="{E364BF04-3028-6275-D0F5-1C842D6DF8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7575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8" name="Line 195">
                <a:extLst>
                  <a:ext uri="{FF2B5EF4-FFF2-40B4-BE49-F238E27FC236}">
                    <a16:creationId xmlns:a16="http://schemas.microsoft.com/office/drawing/2014/main" id="{CE562843-609E-20C4-3E56-1066D4A15C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2813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69" name="Line 196">
                <a:extLst>
                  <a:ext uri="{FF2B5EF4-FFF2-40B4-BE49-F238E27FC236}">
                    <a16:creationId xmlns:a16="http://schemas.microsoft.com/office/drawing/2014/main" id="{253F79C4-F25D-FB4B-57F8-44704A6A73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2813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0" name="Line 197">
                <a:extLst>
                  <a:ext uri="{FF2B5EF4-FFF2-40B4-BE49-F238E27FC236}">
                    <a16:creationId xmlns:a16="http://schemas.microsoft.com/office/drawing/2014/main" id="{847D3BE9-C73A-E97D-B99B-CCB355CBE6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51500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1" name="Line 198">
                <a:extLst>
                  <a:ext uri="{FF2B5EF4-FFF2-40B4-BE49-F238E27FC236}">
                    <a16:creationId xmlns:a16="http://schemas.microsoft.com/office/drawing/2014/main" id="{1EDF571E-8871-786D-F932-1A8CC43E2A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9963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2" name="Line 199">
                <a:extLst>
                  <a:ext uri="{FF2B5EF4-FFF2-40B4-BE49-F238E27FC236}">
                    <a16:creationId xmlns:a16="http://schemas.microsoft.com/office/drawing/2014/main" id="{9C16C095-8AE7-DBC1-E07F-D66F89FE8A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3450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3" name="Line 200">
                <a:extLst>
                  <a:ext uri="{FF2B5EF4-FFF2-40B4-BE49-F238E27FC236}">
                    <a16:creationId xmlns:a16="http://schemas.microsoft.com/office/drawing/2014/main" id="{25643D2D-FD8B-A3DF-CB84-400F8AFB57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6788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4" name="Line 201">
                <a:extLst>
                  <a:ext uri="{FF2B5EF4-FFF2-40B4-BE49-F238E27FC236}">
                    <a16:creationId xmlns:a16="http://schemas.microsoft.com/office/drawing/2014/main" id="{6B165294-966A-47CB-8CE8-A9CF43B0AB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3613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5" name="Line 202">
                <a:extLst>
                  <a:ext uri="{FF2B5EF4-FFF2-40B4-BE49-F238E27FC236}">
                    <a16:creationId xmlns:a16="http://schemas.microsoft.com/office/drawing/2014/main" id="{68BC7EC6-2E43-FED7-2FF2-2D761C73FA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6788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6" name="Line 203">
                <a:extLst>
                  <a:ext uri="{FF2B5EF4-FFF2-40B4-BE49-F238E27FC236}">
                    <a16:creationId xmlns:a16="http://schemas.microsoft.com/office/drawing/2014/main" id="{DB83C4D1-D034-830E-2D63-0914F3D95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6788" y="41179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7" name="Line 204">
                <a:extLst>
                  <a:ext uri="{FF2B5EF4-FFF2-40B4-BE49-F238E27FC236}">
                    <a16:creationId xmlns:a16="http://schemas.microsoft.com/office/drawing/2014/main" id="{D4CBCD90-803A-A546-58EB-35C3063AA9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2813" y="41195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8" name="Line 206">
                <a:extLst>
                  <a:ext uri="{FF2B5EF4-FFF2-40B4-BE49-F238E27FC236}">
                    <a16:creationId xmlns:a16="http://schemas.microsoft.com/office/drawing/2014/main" id="{E86D5A34-415F-5107-D973-E56AABCC8B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3613" y="41179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79" name="Line 207">
                <a:extLst>
                  <a:ext uri="{FF2B5EF4-FFF2-40B4-BE49-F238E27FC236}">
                    <a16:creationId xmlns:a16="http://schemas.microsoft.com/office/drawing/2014/main" id="{AC5A212B-7173-C890-626E-2B954D87FE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3613" y="41179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0" name="Line 208">
                <a:extLst>
                  <a:ext uri="{FF2B5EF4-FFF2-40B4-BE49-F238E27FC236}">
                    <a16:creationId xmlns:a16="http://schemas.microsoft.com/office/drawing/2014/main" id="{32821C5B-D890-799B-0F6C-C23F77F7CA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7575" y="41148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1" name="Line 209">
                <a:extLst>
                  <a:ext uri="{FF2B5EF4-FFF2-40B4-BE49-F238E27FC236}">
                    <a16:creationId xmlns:a16="http://schemas.microsoft.com/office/drawing/2014/main" id="{E9AE5930-FC78-BE70-13EF-824067720B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26075" y="41068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2" name="Line 210">
                <a:extLst>
                  <a:ext uri="{FF2B5EF4-FFF2-40B4-BE49-F238E27FC236}">
                    <a16:creationId xmlns:a16="http://schemas.microsoft.com/office/drawing/2014/main" id="{B9F92461-13B7-9D16-EEDD-8380EC7D6A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4563" y="40989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3" name="Line 211">
                <a:extLst>
                  <a:ext uri="{FF2B5EF4-FFF2-40B4-BE49-F238E27FC236}">
                    <a16:creationId xmlns:a16="http://schemas.microsoft.com/office/drawing/2014/main" id="{F81F7189-A3F8-3665-28B9-8C8CEC5755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6713" y="40925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4" name="Line 212">
                <a:extLst>
                  <a:ext uri="{FF2B5EF4-FFF2-40B4-BE49-F238E27FC236}">
                    <a16:creationId xmlns:a16="http://schemas.microsoft.com/office/drawing/2014/main" id="{BBF2846E-08E9-7914-9074-A32F54EF36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38775" y="40909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5" name="Line 213">
                <a:extLst>
                  <a:ext uri="{FF2B5EF4-FFF2-40B4-BE49-F238E27FC236}">
                    <a16:creationId xmlns:a16="http://schemas.microsoft.com/office/drawing/2014/main" id="{06B7B0F9-286D-7F01-44B8-B1C5FE84F1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1950" y="40878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6" name="Line 214">
                <a:extLst>
                  <a:ext uri="{FF2B5EF4-FFF2-40B4-BE49-F238E27FC236}">
                    <a16:creationId xmlns:a16="http://schemas.microsoft.com/office/drawing/2014/main" id="{20C8D79B-9304-8EEA-93D0-87AC99EC7C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9963" y="40878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7" name="Freeform 215">
                <a:extLst>
                  <a:ext uri="{FF2B5EF4-FFF2-40B4-BE49-F238E27FC236}">
                    <a16:creationId xmlns:a16="http://schemas.microsoft.com/office/drawing/2014/main" id="{BC5765FA-75C6-9E82-581A-10DBDC7F3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4083050"/>
                <a:ext cx="4762" cy="7937"/>
              </a:xfrm>
              <a:custGeom>
                <a:avLst/>
                <a:gdLst>
                  <a:gd name="T0" fmla="*/ 0 w 3"/>
                  <a:gd name="T1" fmla="*/ 0 h 5"/>
                  <a:gd name="T2" fmla="*/ 3 w 3"/>
                  <a:gd name="T3" fmla="*/ 5 h 5"/>
                  <a:gd name="T4" fmla="*/ 0 w 3"/>
                  <a:gd name="T5" fmla="*/ 1 h 5"/>
                  <a:gd name="T6" fmla="*/ 0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3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C5D5B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8" name="Line 216">
                <a:extLst>
                  <a:ext uri="{FF2B5EF4-FFF2-40B4-BE49-F238E27FC236}">
                    <a16:creationId xmlns:a16="http://schemas.microsoft.com/office/drawing/2014/main" id="{A3FCA27C-C498-61B5-5CB9-ED12811475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1950" y="40830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89" name="Line 217">
                <a:extLst>
                  <a:ext uri="{FF2B5EF4-FFF2-40B4-BE49-F238E27FC236}">
                    <a16:creationId xmlns:a16="http://schemas.microsoft.com/office/drawing/2014/main" id="{CD9413F6-9873-1A70-CE5A-BDC8776CBE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1950" y="40830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0" name="Line 218">
                <a:extLst>
                  <a:ext uri="{FF2B5EF4-FFF2-40B4-BE49-F238E27FC236}">
                    <a16:creationId xmlns:a16="http://schemas.microsoft.com/office/drawing/2014/main" id="{1DB1B132-1335-E9FB-DF5C-004364F5BA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6588" y="40687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1" name="Line 219">
                <a:extLst>
                  <a:ext uri="{FF2B5EF4-FFF2-40B4-BE49-F238E27FC236}">
                    <a16:creationId xmlns:a16="http://schemas.microsoft.com/office/drawing/2014/main" id="{AD960783-2DCA-BCCF-F3E1-DEE1804F6B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57825" y="40576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2" name="Line 220">
                <a:extLst>
                  <a:ext uri="{FF2B5EF4-FFF2-40B4-BE49-F238E27FC236}">
                    <a16:creationId xmlns:a16="http://schemas.microsoft.com/office/drawing/2014/main" id="{5D91821F-0931-914B-51F2-1A6A970054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7575" y="40497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3" name="Line 221">
                <a:extLst>
                  <a:ext uri="{FF2B5EF4-FFF2-40B4-BE49-F238E27FC236}">
                    <a16:creationId xmlns:a16="http://schemas.microsoft.com/office/drawing/2014/main" id="{E8F2BCC4-122C-48C5-4BFF-2C86C807D8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2975" y="4037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4" name="Line 222">
                <a:extLst>
                  <a:ext uri="{FF2B5EF4-FFF2-40B4-BE49-F238E27FC236}">
                    <a16:creationId xmlns:a16="http://schemas.microsoft.com/office/drawing/2014/main" id="{4EEE1213-DCF6-D632-FA6C-68714FDF5D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9800" y="4037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5" name="Line 223">
                <a:extLst>
                  <a:ext uri="{FF2B5EF4-FFF2-40B4-BE49-F238E27FC236}">
                    <a16:creationId xmlns:a16="http://schemas.microsoft.com/office/drawing/2014/main" id="{5D9E5984-AE2F-C9DA-A2AA-0968B04ABB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2975" y="40338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6" name="Line 224">
                <a:extLst>
                  <a:ext uri="{FF2B5EF4-FFF2-40B4-BE49-F238E27FC236}">
                    <a16:creationId xmlns:a16="http://schemas.microsoft.com/office/drawing/2014/main" id="{B4986049-991D-3DC9-4FB9-4D47033F20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4563" y="40338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7" name="Line 225">
                <a:extLst>
                  <a:ext uri="{FF2B5EF4-FFF2-40B4-BE49-F238E27FC236}">
                    <a16:creationId xmlns:a16="http://schemas.microsoft.com/office/drawing/2014/main" id="{B75BA5DB-9920-E45F-0F39-5FD7624EFE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0913" y="403066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8" name="Line 226">
                <a:extLst>
                  <a:ext uri="{FF2B5EF4-FFF2-40B4-BE49-F238E27FC236}">
                    <a16:creationId xmlns:a16="http://schemas.microsoft.com/office/drawing/2014/main" id="{3265E1C6-082B-5454-D898-5DCE09AC76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9800" y="40227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899" name="Line 227">
                <a:extLst>
                  <a:ext uri="{FF2B5EF4-FFF2-40B4-BE49-F238E27FC236}">
                    <a16:creationId xmlns:a16="http://schemas.microsoft.com/office/drawing/2014/main" id="{AD73840B-F095-D674-6631-332FDB00A0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9800" y="40227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0" name="Line 228">
                <a:extLst>
                  <a:ext uri="{FF2B5EF4-FFF2-40B4-BE49-F238E27FC236}">
                    <a16:creationId xmlns:a16="http://schemas.microsoft.com/office/drawing/2014/main" id="{F39E20AC-ECA8-E44D-BD2F-4D2623FD5A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6625" y="4010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1" name="Line 229">
                <a:extLst>
                  <a:ext uri="{FF2B5EF4-FFF2-40B4-BE49-F238E27FC236}">
                    <a16:creationId xmlns:a16="http://schemas.microsoft.com/office/drawing/2014/main" id="{9D4F4BF1-A6FF-8615-3C66-D78A9C9AA4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6625" y="40100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2" name="Freeform 230">
                <a:extLst>
                  <a:ext uri="{FF2B5EF4-FFF2-40B4-BE49-F238E27FC236}">
                    <a16:creationId xmlns:a16="http://schemas.microsoft.com/office/drawing/2014/main" id="{1BE37E6A-EA8E-0DD6-FBA0-FDDD22C61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4006850"/>
                <a:ext cx="58737" cy="76200"/>
              </a:xfrm>
              <a:custGeom>
                <a:avLst/>
                <a:gdLst>
                  <a:gd name="T0" fmla="*/ 12 w 37"/>
                  <a:gd name="T1" fmla="*/ 22 h 48"/>
                  <a:gd name="T2" fmla="*/ 13 w 37"/>
                  <a:gd name="T3" fmla="*/ 17 h 48"/>
                  <a:gd name="T4" fmla="*/ 18 w 37"/>
                  <a:gd name="T5" fmla="*/ 15 h 48"/>
                  <a:gd name="T6" fmla="*/ 18 w 37"/>
                  <a:gd name="T7" fmla="*/ 12 h 48"/>
                  <a:gd name="T8" fmla="*/ 17 w 37"/>
                  <a:gd name="T9" fmla="*/ 7 h 48"/>
                  <a:gd name="T10" fmla="*/ 20 w 37"/>
                  <a:gd name="T11" fmla="*/ 5 h 48"/>
                  <a:gd name="T12" fmla="*/ 27 w 37"/>
                  <a:gd name="T13" fmla="*/ 4 h 48"/>
                  <a:gd name="T14" fmla="*/ 27 w 37"/>
                  <a:gd name="T15" fmla="*/ 0 h 48"/>
                  <a:gd name="T16" fmla="*/ 30 w 37"/>
                  <a:gd name="T17" fmla="*/ 4 h 48"/>
                  <a:gd name="T18" fmla="*/ 30 w 37"/>
                  <a:gd name="T19" fmla="*/ 5 h 48"/>
                  <a:gd name="T20" fmla="*/ 35 w 37"/>
                  <a:gd name="T21" fmla="*/ 9 h 48"/>
                  <a:gd name="T22" fmla="*/ 37 w 37"/>
                  <a:gd name="T23" fmla="*/ 12 h 48"/>
                  <a:gd name="T24" fmla="*/ 34 w 37"/>
                  <a:gd name="T25" fmla="*/ 14 h 48"/>
                  <a:gd name="T26" fmla="*/ 34 w 37"/>
                  <a:gd name="T27" fmla="*/ 19 h 48"/>
                  <a:gd name="T28" fmla="*/ 32 w 37"/>
                  <a:gd name="T29" fmla="*/ 24 h 48"/>
                  <a:gd name="T30" fmla="*/ 24 w 37"/>
                  <a:gd name="T31" fmla="*/ 22 h 48"/>
                  <a:gd name="T32" fmla="*/ 20 w 37"/>
                  <a:gd name="T33" fmla="*/ 20 h 48"/>
                  <a:gd name="T34" fmla="*/ 17 w 37"/>
                  <a:gd name="T35" fmla="*/ 20 h 48"/>
                  <a:gd name="T36" fmla="*/ 13 w 37"/>
                  <a:gd name="T37" fmla="*/ 24 h 48"/>
                  <a:gd name="T38" fmla="*/ 10 w 37"/>
                  <a:gd name="T39" fmla="*/ 31 h 48"/>
                  <a:gd name="T40" fmla="*/ 7 w 37"/>
                  <a:gd name="T41" fmla="*/ 34 h 48"/>
                  <a:gd name="T42" fmla="*/ 10 w 37"/>
                  <a:gd name="T43" fmla="*/ 32 h 48"/>
                  <a:gd name="T44" fmla="*/ 10 w 37"/>
                  <a:gd name="T45" fmla="*/ 37 h 48"/>
                  <a:gd name="T46" fmla="*/ 13 w 37"/>
                  <a:gd name="T47" fmla="*/ 41 h 48"/>
                  <a:gd name="T48" fmla="*/ 13 w 37"/>
                  <a:gd name="T49" fmla="*/ 44 h 48"/>
                  <a:gd name="T50" fmla="*/ 8 w 37"/>
                  <a:gd name="T51" fmla="*/ 48 h 48"/>
                  <a:gd name="T52" fmla="*/ 5 w 37"/>
                  <a:gd name="T53" fmla="*/ 46 h 48"/>
                  <a:gd name="T54" fmla="*/ 0 w 37"/>
                  <a:gd name="T55" fmla="*/ 46 h 48"/>
                  <a:gd name="T56" fmla="*/ 0 w 37"/>
                  <a:gd name="T57" fmla="*/ 41 h 48"/>
                  <a:gd name="T58" fmla="*/ 3 w 37"/>
                  <a:gd name="T59" fmla="*/ 37 h 48"/>
                  <a:gd name="T60" fmla="*/ 5 w 37"/>
                  <a:gd name="T61" fmla="*/ 34 h 48"/>
                  <a:gd name="T62" fmla="*/ 1 w 37"/>
                  <a:gd name="T63" fmla="*/ 27 h 48"/>
                  <a:gd name="T64" fmla="*/ 8 w 37"/>
                  <a:gd name="T65" fmla="*/ 26 h 48"/>
                  <a:gd name="T66" fmla="*/ 12 w 37"/>
                  <a:gd name="T67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48">
                    <a:moveTo>
                      <a:pt x="12" y="22"/>
                    </a:moveTo>
                    <a:lnTo>
                      <a:pt x="13" y="17"/>
                    </a:lnTo>
                    <a:lnTo>
                      <a:pt x="18" y="15"/>
                    </a:lnTo>
                    <a:lnTo>
                      <a:pt x="18" y="12"/>
                    </a:lnTo>
                    <a:lnTo>
                      <a:pt x="17" y="7"/>
                    </a:lnTo>
                    <a:lnTo>
                      <a:pt x="20" y="5"/>
                    </a:lnTo>
                    <a:lnTo>
                      <a:pt x="27" y="4"/>
                    </a:lnTo>
                    <a:lnTo>
                      <a:pt x="27" y="0"/>
                    </a:lnTo>
                    <a:lnTo>
                      <a:pt x="30" y="4"/>
                    </a:lnTo>
                    <a:lnTo>
                      <a:pt x="30" y="5"/>
                    </a:lnTo>
                    <a:lnTo>
                      <a:pt x="35" y="9"/>
                    </a:lnTo>
                    <a:lnTo>
                      <a:pt x="37" y="12"/>
                    </a:lnTo>
                    <a:lnTo>
                      <a:pt x="34" y="14"/>
                    </a:lnTo>
                    <a:lnTo>
                      <a:pt x="34" y="19"/>
                    </a:lnTo>
                    <a:lnTo>
                      <a:pt x="32" y="24"/>
                    </a:lnTo>
                    <a:lnTo>
                      <a:pt x="24" y="22"/>
                    </a:lnTo>
                    <a:lnTo>
                      <a:pt x="20" y="20"/>
                    </a:lnTo>
                    <a:lnTo>
                      <a:pt x="17" y="20"/>
                    </a:lnTo>
                    <a:lnTo>
                      <a:pt x="13" y="24"/>
                    </a:lnTo>
                    <a:lnTo>
                      <a:pt x="10" y="31"/>
                    </a:lnTo>
                    <a:lnTo>
                      <a:pt x="7" y="34"/>
                    </a:lnTo>
                    <a:lnTo>
                      <a:pt x="10" y="32"/>
                    </a:lnTo>
                    <a:lnTo>
                      <a:pt x="10" y="37"/>
                    </a:lnTo>
                    <a:lnTo>
                      <a:pt x="13" y="41"/>
                    </a:lnTo>
                    <a:lnTo>
                      <a:pt x="13" y="44"/>
                    </a:lnTo>
                    <a:lnTo>
                      <a:pt x="8" y="48"/>
                    </a:lnTo>
                    <a:lnTo>
                      <a:pt x="5" y="46"/>
                    </a:lnTo>
                    <a:lnTo>
                      <a:pt x="0" y="46"/>
                    </a:lnTo>
                    <a:lnTo>
                      <a:pt x="0" y="41"/>
                    </a:lnTo>
                    <a:lnTo>
                      <a:pt x="3" y="37"/>
                    </a:lnTo>
                    <a:lnTo>
                      <a:pt x="5" y="34"/>
                    </a:lnTo>
                    <a:lnTo>
                      <a:pt x="1" y="27"/>
                    </a:lnTo>
                    <a:lnTo>
                      <a:pt x="8" y="26"/>
                    </a:lnTo>
                    <a:lnTo>
                      <a:pt x="12" y="22"/>
                    </a:lnTo>
                    <a:close/>
                  </a:path>
                </a:pathLst>
              </a:custGeom>
              <a:solidFill>
                <a:srgbClr val="AC5D5B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3" name="Line 231">
                <a:extLst>
                  <a:ext uri="{FF2B5EF4-FFF2-40B4-BE49-F238E27FC236}">
                    <a16:creationId xmlns:a16="http://schemas.microsoft.com/office/drawing/2014/main" id="{50FF9956-A21D-CD93-C324-BBA4729F3F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3450" y="40068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4" name="Line 232">
                <a:extLst>
                  <a:ext uri="{FF2B5EF4-FFF2-40B4-BE49-F238E27FC236}">
                    <a16:creationId xmlns:a16="http://schemas.microsoft.com/office/drawing/2014/main" id="{2A7D8846-F19B-DF78-B97F-1186ECB310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6625" y="40036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5" name="Line 233">
                <a:extLst>
                  <a:ext uri="{FF2B5EF4-FFF2-40B4-BE49-F238E27FC236}">
                    <a16:creationId xmlns:a16="http://schemas.microsoft.com/office/drawing/2014/main" id="{C43E60E1-16F5-16A2-FE76-EFA17708C8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3450" y="40036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6" name="Line 234">
                <a:extLst>
                  <a:ext uri="{FF2B5EF4-FFF2-40B4-BE49-F238E27FC236}">
                    <a16:creationId xmlns:a16="http://schemas.microsoft.com/office/drawing/2014/main" id="{567733EC-486B-3BB7-1CCE-621DEB6F74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13450" y="40020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7" name="Line 235">
                <a:extLst>
                  <a:ext uri="{FF2B5EF4-FFF2-40B4-BE49-F238E27FC236}">
                    <a16:creationId xmlns:a16="http://schemas.microsoft.com/office/drawing/2014/main" id="{2EFBF723-2AB7-D725-63C8-F9D0078E13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6463" y="39878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8" name="Line 236">
                <a:extLst>
                  <a:ext uri="{FF2B5EF4-FFF2-40B4-BE49-F238E27FC236}">
                    <a16:creationId xmlns:a16="http://schemas.microsoft.com/office/drawing/2014/main" id="{A8C378F2-8B7B-4C7B-7077-E8C1FF0FE0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24538" y="398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09" name="Line 237">
                <a:extLst>
                  <a:ext uri="{FF2B5EF4-FFF2-40B4-BE49-F238E27FC236}">
                    <a16:creationId xmlns:a16="http://schemas.microsoft.com/office/drawing/2014/main" id="{337E1BCF-9609-7CEB-32F2-2ED6529ECD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24538" y="398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0" name="Line 238">
                <a:extLst>
                  <a:ext uri="{FF2B5EF4-FFF2-40B4-BE49-F238E27FC236}">
                    <a16:creationId xmlns:a16="http://schemas.microsoft.com/office/drawing/2014/main" id="{6436A192-BE25-34A7-724F-2E53F53FD9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39830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1" name="Line 239">
                <a:extLst>
                  <a:ext uri="{FF2B5EF4-FFF2-40B4-BE49-F238E27FC236}">
                    <a16:creationId xmlns:a16="http://schemas.microsoft.com/office/drawing/2014/main" id="{D315C7F7-95EE-54B3-5B0F-02FE056816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39862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2" name="Line 240">
                <a:extLst>
                  <a:ext uri="{FF2B5EF4-FFF2-40B4-BE49-F238E27FC236}">
                    <a16:creationId xmlns:a16="http://schemas.microsoft.com/office/drawing/2014/main" id="{B3ACAAEF-B971-F38B-C5F8-5066E3B78E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39766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3" name="Line 241">
                <a:extLst>
                  <a:ext uri="{FF2B5EF4-FFF2-40B4-BE49-F238E27FC236}">
                    <a16:creationId xmlns:a16="http://schemas.microsoft.com/office/drawing/2014/main" id="{68BB595A-CE71-DBAC-2F1C-541FCB5962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39766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4" name="Line 242">
                <a:extLst>
                  <a:ext uri="{FF2B5EF4-FFF2-40B4-BE49-F238E27FC236}">
                    <a16:creationId xmlns:a16="http://schemas.microsoft.com/office/drawing/2014/main" id="{019BE6B9-6053-74AD-167B-B0F781EA8A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1700" y="39719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5" name="Line 243">
                <a:extLst>
                  <a:ext uri="{FF2B5EF4-FFF2-40B4-BE49-F238E27FC236}">
                    <a16:creationId xmlns:a16="http://schemas.microsoft.com/office/drawing/2014/main" id="{E23BA851-F28D-5FF2-ECB5-B673CC162E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1700" y="39751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6" name="Line 244">
                <a:extLst>
                  <a:ext uri="{FF2B5EF4-FFF2-40B4-BE49-F238E27FC236}">
                    <a16:creationId xmlns:a16="http://schemas.microsoft.com/office/drawing/2014/main" id="{77A9DC61-1B50-8EAC-AAA4-E5321A91A8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6875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7" name="Line 245">
                <a:extLst>
                  <a:ext uri="{FF2B5EF4-FFF2-40B4-BE49-F238E27FC236}">
                    <a16:creationId xmlns:a16="http://schemas.microsoft.com/office/drawing/2014/main" id="{C56A39A4-CA62-BE89-A8DE-1CD9C39B64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3600" y="396398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8" name="Line 246">
                <a:extLst>
                  <a:ext uri="{FF2B5EF4-FFF2-40B4-BE49-F238E27FC236}">
                    <a16:creationId xmlns:a16="http://schemas.microsoft.com/office/drawing/2014/main" id="{E2D6719F-1B4A-D352-F6B6-74F279DC46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2650" y="39608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19" name="Line 247">
                <a:extLst>
                  <a:ext uri="{FF2B5EF4-FFF2-40B4-BE49-F238E27FC236}">
                    <a16:creationId xmlns:a16="http://schemas.microsoft.com/office/drawing/2014/main" id="{035E711D-E710-3FC8-5607-CD96A89684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8675" y="39608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0" name="Freeform 248">
                <a:extLst>
                  <a:ext uri="{FF2B5EF4-FFF2-40B4-BE49-F238E27FC236}">
                    <a16:creationId xmlns:a16="http://schemas.microsoft.com/office/drawing/2014/main" id="{9B5F612D-FCBF-4896-6CA1-D93DD7881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3600" y="3959225"/>
                <a:ext cx="11112" cy="9525"/>
              </a:xfrm>
              <a:custGeom>
                <a:avLst/>
                <a:gdLst>
                  <a:gd name="T0" fmla="*/ 4 w 7"/>
                  <a:gd name="T1" fmla="*/ 0 h 6"/>
                  <a:gd name="T2" fmla="*/ 7 w 7"/>
                  <a:gd name="T3" fmla="*/ 3 h 6"/>
                  <a:gd name="T4" fmla="*/ 4 w 7"/>
                  <a:gd name="T5" fmla="*/ 6 h 6"/>
                  <a:gd name="T6" fmla="*/ 4 w 7"/>
                  <a:gd name="T7" fmla="*/ 6 h 6"/>
                  <a:gd name="T8" fmla="*/ 0 w 7"/>
                  <a:gd name="T9" fmla="*/ 6 h 6"/>
                  <a:gd name="T10" fmla="*/ 4 w 7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6">
                    <a:moveTo>
                      <a:pt x="4" y="0"/>
                    </a:moveTo>
                    <a:lnTo>
                      <a:pt x="7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AC5D5B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1" name="Line 249">
                <a:extLst>
                  <a:ext uri="{FF2B5EF4-FFF2-40B4-BE49-F238E27FC236}">
                    <a16:creationId xmlns:a16="http://schemas.microsoft.com/office/drawing/2014/main" id="{428E3175-A5AF-6E27-00D6-13421920B7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5825" y="39592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2" name="Line 250">
                <a:extLst>
                  <a:ext uri="{FF2B5EF4-FFF2-40B4-BE49-F238E27FC236}">
                    <a16:creationId xmlns:a16="http://schemas.microsoft.com/office/drawing/2014/main" id="{CEB7FCCA-EE9A-9A88-E877-3FAC8EDC3A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1538" y="39592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3" name="Line 251">
                <a:extLst>
                  <a:ext uri="{FF2B5EF4-FFF2-40B4-BE49-F238E27FC236}">
                    <a16:creationId xmlns:a16="http://schemas.microsoft.com/office/drawing/2014/main" id="{D0BD4458-D1B8-B408-60BD-7254360BE2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481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4" name="Line 252">
                <a:extLst>
                  <a:ext uri="{FF2B5EF4-FFF2-40B4-BE49-F238E27FC236}">
                    <a16:creationId xmlns:a16="http://schemas.microsoft.com/office/drawing/2014/main" id="{6234B2BD-7D01-EC66-5A4E-34ECC79D39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2800" y="39449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5" name="Line 253">
                <a:extLst>
                  <a:ext uri="{FF2B5EF4-FFF2-40B4-BE49-F238E27FC236}">
                    <a16:creationId xmlns:a16="http://schemas.microsoft.com/office/drawing/2014/main" id="{8277B6BD-366A-915A-5240-FD1758EB39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1525" y="39370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6" name="Line 254">
                <a:extLst>
                  <a:ext uri="{FF2B5EF4-FFF2-40B4-BE49-F238E27FC236}">
                    <a16:creationId xmlns:a16="http://schemas.microsoft.com/office/drawing/2014/main" id="{F59E2262-16DB-517D-60F2-2AED40B0BA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1850" y="3937000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7" name="Line 255">
                <a:extLst>
                  <a:ext uri="{FF2B5EF4-FFF2-40B4-BE49-F238E27FC236}">
                    <a16:creationId xmlns:a16="http://schemas.microsoft.com/office/drawing/2014/main" id="{D1BEF47A-BE03-6E79-FAB2-01B635E068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76925" y="393382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8" name="Line 256">
                <a:extLst>
                  <a:ext uri="{FF2B5EF4-FFF2-40B4-BE49-F238E27FC236}">
                    <a16:creationId xmlns:a16="http://schemas.microsoft.com/office/drawing/2014/main" id="{C91F0BB4-2D7B-6AE6-6594-DCC907426E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76925" y="39322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29" name="Line 257">
                <a:extLst>
                  <a:ext uri="{FF2B5EF4-FFF2-40B4-BE49-F238E27FC236}">
                    <a16:creationId xmlns:a16="http://schemas.microsoft.com/office/drawing/2014/main" id="{48B81F05-E8EA-4BE4-410F-0605E394D3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76925" y="3932238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0" name="Freeform 258">
                <a:extLst>
                  <a:ext uri="{FF2B5EF4-FFF2-40B4-BE49-F238E27FC236}">
                    <a16:creationId xmlns:a16="http://schemas.microsoft.com/office/drawing/2014/main" id="{A638425E-74AE-F892-CD7A-296C95969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127" y="3951756"/>
                <a:ext cx="720726" cy="1331912"/>
              </a:xfrm>
              <a:custGeom>
                <a:avLst/>
                <a:gdLst>
                  <a:gd name="T0" fmla="*/ 410 w 454"/>
                  <a:gd name="T1" fmla="*/ 90 h 839"/>
                  <a:gd name="T2" fmla="*/ 377 w 454"/>
                  <a:gd name="T3" fmla="*/ 115 h 839"/>
                  <a:gd name="T4" fmla="*/ 394 w 454"/>
                  <a:gd name="T5" fmla="*/ 118 h 839"/>
                  <a:gd name="T6" fmla="*/ 422 w 454"/>
                  <a:gd name="T7" fmla="*/ 144 h 839"/>
                  <a:gd name="T8" fmla="*/ 415 w 454"/>
                  <a:gd name="T9" fmla="*/ 169 h 839"/>
                  <a:gd name="T10" fmla="*/ 430 w 454"/>
                  <a:gd name="T11" fmla="*/ 213 h 839"/>
                  <a:gd name="T12" fmla="*/ 454 w 454"/>
                  <a:gd name="T13" fmla="*/ 254 h 839"/>
                  <a:gd name="T14" fmla="*/ 435 w 454"/>
                  <a:gd name="T15" fmla="*/ 307 h 839"/>
                  <a:gd name="T16" fmla="*/ 401 w 454"/>
                  <a:gd name="T17" fmla="*/ 347 h 839"/>
                  <a:gd name="T18" fmla="*/ 416 w 454"/>
                  <a:gd name="T19" fmla="*/ 400 h 839"/>
                  <a:gd name="T20" fmla="*/ 418 w 454"/>
                  <a:gd name="T21" fmla="*/ 458 h 839"/>
                  <a:gd name="T22" fmla="*/ 418 w 454"/>
                  <a:gd name="T23" fmla="*/ 497 h 839"/>
                  <a:gd name="T24" fmla="*/ 413 w 454"/>
                  <a:gd name="T25" fmla="*/ 546 h 839"/>
                  <a:gd name="T26" fmla="*/ 410 w 454"/>
                  <a:gd name="T27" fmla="*/ 598 h 839"/>
                  <a:gd name="T28" fmla="*/ 399 w 454"/>
                  <a:gd name="T29" fmla="*/ 651 h 839"/>
                  <a:gd name="T30" fmla="*/ 394 w 454"/>
                  <a:gd name="T31" fmla="*/ 693 h 839"/>
                  <a:gd name="T32" fmla="*/ 386 w 454"/>
                  <a:gd name="T33" fmla="*/ 742 h 839"/>
                  <a:gd name="T34" fmla="*/ 357 w 454"/>
                  <a:gd name="T35" fmla="*/ 746 h 839"/>
                  <a:gd name="T36" fmla="*/ 314 w 454"/>
                  <a:gd name="T37" fmla="*/ 717 h 839"/>
                  <a:gd name="T38" fmla="*/ 272 w 454"/>
                  <a:gd name="T39" fmla="*/ 729 h 839"/>
                  <a:gd name="T40" fmla="*/ 236 w 454"/>
                  <a:gd name="T41" fmla="*/ 754 h 839"/>
                  <a:gd name="T42" fmla="*/ 231 w 454"/>
                  <a:gd name="T43" fmla="*/ 797 h 839"/>
                  <a:gd name="T44" fmla="*/ 185 w 454"/>
                  <a:gd name="T45" fmla="*/ 836 h 839"/>
                  <a:gd name="T46" fmla="*/ 144 w 454"/>
                  <a:gd name="T47" fmla="*/ 824 h 839"/>
                  <a:gd name="T48" fmla="*/ 124 w 454"/>
                  <a:gd name="T49" fmla="*/ 831 h 839"/>
                  <a:gd name="T50" fmla="*/ 114 w 454"/>
                  <a:gd name="T51" fmla="*/ 788 h 839"/>
                  <a:gd name="T52" fmla="*/ 85 w 454"/>
                  <a:gd name="T53" fmla="*/ 776 h 839"/>
                  <a:gd name="T54" fmla="*/ 59 w 454"/>
                  <a:gd name="T55" fmla="*/ 785 h 839"/>
                  <a:gd name="T56" fmla="*/ 69 w 454"/>
                  <a:gd name="T57" fmla="*/ 756 h 839"/>
                  <a:gd name="T58" fmla="*/ 86 w 454"/>
                  <a:gd name="T59" fmla="*/ 751 h 839"/>
                  <a:gd name="T60" fmla="*/ 68 w 454"/>
                  <a:gd name="T61" fmla="*/ 727 h 839"/>
                  <a:gd name="T62" fmla="*/ 76 w 454"/>
                  <a:gd name="T63" fmla="*/ 681 h 839"/>
                  <a:gd name="T64" fmla="*/ 71 w 454"/>
                  <a:gd name="T65" fmla="*/ 644 h 839"/>
                  <a:gd name="T66" fmla="*/ 86 w 454"/>
                  <a:gd name="T67" fmla="*/ 590 h 839"/>
                  <a:gd name="T68" fmla="*/ 81 w 454"/>
                  <a:gd name="T69" fmla="*/ 541 h 839"/>
                  <a:gd name="T70" fmla="*/ 100 w 454"/>
                  <a:gd name="T71" fmla="*/ 527 h 839"/>
                  <a:gd name="T72" fmla="*/ 109 w 454"/>
                  <a:gd name="T73" fmla="*/ 481 h 839"/>
                  <a:gd name="T74" fmla="*/ 73 w 454"/>
                  <a:gd name="T75" fmla="*/ 476 h 839"/>
                  <a:gd name="T76" fmla="*/ 68 w 454"/>
                  <a:gd name="T77" fmla="*/ 430 h 839"/>
                  <a:gd name="T78" fmla="*/ 93 w 454"/>
                  <a:gd name="T79" fmla="*/ 405 h 839"/>
                  <a:gd name="T80" fmla="*/ 92 w 454"/>
                  <a:gd name="T81" fmla="*/ 347 h 839"/>
                  <a:gd name="T82" fmla="*/ 68 w 454"/>
                  <a:gd name="T83" fmla="*/ 307 h 839"/>
                  <a:gd name="T84" fmla="*/ 51 w 454"/>
                  <a:gd name="T85" fmla="*/ 254 h 839"/>
                  <a:gd name="T86" fmla="*/ 22 w 454"/>
                  <a:gd name="T87" fmla="*/ 240 h 839"/>
                  <a:gd name="T88" fmla="*/ 3 w 454"/>
                  <a:gd name="T89" fmla="*/ 230 h 839"/>
                  <a:gd name="T90" fmla="*/ 5 w 454"/>
                  <a:gd name="T91" fmla="*/ 190 h 839"/>
                  <a:gd name="T92" fmla="*/ 20 w 454"/>
                  <a:gd name="T93" fmla="*/ 140 h 839"/>
                  <a:gd name="T94" fmla="*/ 27 w 454"/>
                  <a:gd name="T95" fmla="*/ 105 h 839"/>
                  <a:gd name="T96" fmla="*/ 57 w 454"/>
                  <a:gd name="T97" fmla="*/ 142 h 839"/>
                  <a:gd name="T98" fmla="*/ 90 w 454"/>
                  <a:gd name="T99" fmla="*/ 152 h 839"/>
                  <a:gd name="T100" fmla="*/ 132 w 454"/>
                  <a:gd name="T101" fmla="*/ 135 h 839"/>
                  <a:gd name="T102" fmla="*/ 175 w 454"/>
                  <a:gd name="T103" fmla="*/ 118 h 839"/>
                  <a:gd name="T104" fmla="*/ 216 w 454"/>
                  <a:gd name="T105" fmla="*/ 71 h 839"/>
                  <a:gd name="T106" fmla="*/ 263 w 454"/>
                  <a:gd name="T107" fmla="*/ 35 h 839"/>
                  <a:gd name="T108" fmla="*/ 279 w 454"/>
                  <a:gd name="T109" fmla="*/ 3 h 839"/>
                  <a:gd name="T110" fmla="*/ 308 w 454"/>
                  <a:gd name="T111" fmla="*/ 13 h 839"/>
                  <a:gd name="T112" fmla="*/ 331 w 454"/>
                  <a:gd name="T113" fmla="*/ 25 h 839"/>
                  <a:gd name="T114" fmla="*/ 353 w 454"/>
                  <a:gd name="T115" fmla="*/ 51 h 839"/>
                  <a:gd name="T116" fmla="*/ 376 w 454"/>
                  <a:gd name="T117" fmla="*/ 49 h 839"/>
                  <a:gd name="T118" fmla="*/ 369 w 454"/>
                  <a:gd name="T119" fmla="*/ 84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54" h="839">
                    <a:moveTo>
                      <a:pt x="381" y="78"/>
                    </a:moveTo>
                    <a:lnTo>
                      <a:pt x="382" y="81"/>
                    </a:lnTo>
                    <a:lnTo>
                      <a:pt x="379" y="86"/>
                    </a:lnTo>
                    <a:lnTo>
                      <a:pt x="384" y="88"/>
                    </a:lnTo>
                    <a:lnTo>
                      <a:pt x="389" y="86"/>
                    </a:lnTo>
                    <a:lnTo>
                      <a:pt x="391" y="81"/>
                    </a:lnTo>
                    <a:lnTo>
                      <a:pt x="394" y="83"/>
                    </a:lnTo>
                    <a:lnTo>
                      <a:pt x="398" y="88"/>
                    </a:lnTo>
                    <a:lnTo>
                      <a:pt x="401" y="90"/>
                    </a:lnTo>
                    <a:lnTo>
                      <a:pt x="406" y="88"/>
                    </a:lnTo>
                    <a:lnTo>
                      <a:pt x="410" y="90"/>
                    </a:lnTo>
                    <a:lnTo>
                      <a:pt x="406" y="95"/>
                    </a:lnTo>
                    <a:lnTo>
                      <a:pt x="401" y="95"/>
                    </a:lnTo>
                    <a:lnTo>
                      <a:pt x="398" y="91"/>
                    </a:lnTo>
                    <a:lnTo>
                      <a:pt x="389" y="93"/>
                    </a:lnTo>
                    <a:lnTo>
                      <a:pt x="388" y="96"/>
                    </a:lnTo>
                    <a:lnTo>
                      <a:pt x="391" y="101"/>
                    </a:lnTo>
                    <a:lnTo>
                      <a:pt x="388" y="105"/>
                    </a:lnTo>
                    <a:lnTo>
                      <a:pt x="384" y="110"/>
                    </a:lnTo>
                    <a:lnTo>
                      <a:pt x="386" y="115"/>
                    </a:lnTo>
                    <a:lnTo>
                      <a:pt x="382" y="117"/>
                    </a:lnTo>
                    <a:lnTo>
                      <a:pt x="377" y="115"/>
                    </a:lnTo>
                    <a:lnTo>
                      <a:pt x="374" y="113"/>
                    </a:lnTo>
                    <a:lnTo>
                      <a:pt x="371" y="115"/>
                    </a:lnTo>
                    <a:lnTo>
                      <a:pt x="365" y="115"/>
                    </a:lnTo>
                    <a:lnTo>
                      <a:pt x="367" y="120"/>
                    </a:lnTo>
                    <a:lnTo>
                      <a:pt x="374" y="120"/>
                    </a:lnTo>
                    <a:lnTo>
                      <a:pt x="377" y="118"/>
                    </a:lnTo>
                    <a:lnTo>
                      <a:pt x="382" y="118"/>
                    </a:lnTo>
                    <a:lnTo>
                      <a:pt x="384" y="122"/>
                    </a:lnTo>
                    <a:lnTo>
                      <a:pt x="389" y="125"/>
                    </a:lnTo>
                    <a:lnTo>
                      <a:pt x="393" y="122"/>
                    </a:lnTo>
                    <a:lnTo>
                      <a:pt x="394" y="118"/>
                    </a:lnTo>
                    <a:lnTo>
                      <a:pt x="399" y="118"/>
                    </a:lnTo>
                    <a:lnTo>
                      <a:pt x="403" y="118"/>
                    </a:lnTo>
                    <a:lnTo>
                      <a:pt x="399" y="125"/>
                    </a:lnTo>
                    <a:lnTo>
                      <a:pt x="401" y="130"/>
                    </a:lnTo>
                    <a:lnTo>
                      <a:pt x="403" y="134"/>
                    </a:lnTo>
                    <a:lnTo>
                      <a:pt x="408" y="134"/>
                    </a:lnTo>
                    <a:lnTo>
                      <a:pt x="406" y="139"/>
                    </a:lnTo>
                    <a:lnTo>
                      <a:pt x="410" y="140"/>
                    </a:lnTo>
                    <a:lnTo>
                      <a:pt x="413" y="139"/>
                    </a:lnTo>
                    <a:lnTo>
                      <a:pt x="416" y="142"/>
                    </a:lnTo>
                    <a:lnTo>
                      <a:pt x="422" y="144"/>
                    </a:lnTo>
                    <a:lnTo>
                      <a:pt x="427" y="144"/>
                    </a:lnTo>
                    <a:lnTo>
                      <a:pt x="423" y="147"/>
                    </a:lnTo>
                    <a:lnTo>
                      <a:pt x="420" y="147"/>
                    </a:lnTo>
                    <a:lnTo>
                      <a:pt x="416" y="147"/>
                    </a:lnTo>
                    <a:lnTo>
                      <a:pt x="415" y="151"/>
                    </a:lnTo>
                    <a:lnTo>
                      <a:pt x="415" y="154"/>
                    </a:lnTo>
                    <a:lnTo>
                      <a:pt x="416" y="157"/>
                    </a:lnTo>
                    <a:lnTo>
                      <a:pt x="413" y="157"/>
                    </a:lnTo>
                    <a:lnTo>
                      <a:pt x="411" y="161"/>
                    </a:lnTo>
                    <a:lnTo>
                      <a:pt x="411" y="166"/>
                    </a:lnTo>
                    <a:lnTo>
                      <a:pt x="415" y="169"/>
                    </a:lnTo>
                    <a:lnTo>
                      <a:pt x="418" y="173"/>
                    </a:lnTo>
                    <a:lnTo>
                      <a:pt x="422" y="176"/>
                    </a:lnTo>
                    <a:lnTo>
                      <a:pt x="423" y="181"/>
                    </a:lnTo>
                    <a:lnTo>
                      <a:pt x="423" y="186"/>
                    </a:lnTo>
                    <a:lnTo>
                      <a:pt x="423" y="191"/>
                    </a:lnTo>
                    <a:lnTo>
                      <a:pt x="427" y="195"/>
                    </a:lnTo>
                    <a:lnTo>
                      <a:pt x="430" y="196"/>
                    </a:lnTo>
                    <a:lnTo>
                      <a:pt x="433" y="201"/>
                    </a:lnTo>
                    <a:lnTo>
                      <a:pt x="433" y="207"/>
                    </a:lnTo>
                    <a:lnTo>
                      <a:pt x="433" y="210"/>
                    </a:lnTo>
                    <a:lnTo>
                      <a:pt x="430" y="213"/>
                    </a:lnTo>
                    <a:lnTo>
                      <a:pt x="430" y="217"/>
                    </a:lnTo>
                    <a:lnTo>
                      <a:pt x="432" y="222"/>
                    </a:lnTo>
                    <a:lnTo>
                      <a:pt x="433" y="225"/>
                    </a:lnTo>
                    <a:lnTo>
                      <a:pt x="433" y="229"/>
                    </a:lnTo>
                    <a:lnTo>
                      <a:pt x="435" y="232"/>
                    </a:lnTo>
                    <a:lnTo>
                      <a:pt x="439" y="235"/>
                    </a:lnTo>
                    <a:lnTo>
                      <a:pt x="444" y="239"/>
                    </a:lnTo>
                    <a:lnTo>
                      <a:pt x="445" y="244"/>
                    </a:lnTo>
                    <a:lnTo>
                      <a:pt x="445" y="249"/>
                    </a:lnTo>
                    <a:lnTo>
                      <a:pt x="449" y="252"/>
                    </a:lnTo>
                    <a:lnTo>
                      <a:pt x="454" y="254"/>
                    </a:lnTo>
                    <a:lnTo>
                      <a:pt x="454" y="257"/>
                    </a:lnTo>
                    <a:lnTo>
                      <a:pt x="454" y="261"/>
                    </a:lnTo>
                    <a:lnTo>
                      <a:pt x="452" y="266"/>
                    </a:lnTo>
                    <a:lnTo>
                      <a:pt x="450" y="271"/>
                    </a:lnTo>
                    <a:lnTo>
                      <a:pt x="449" y="274"/>
                    </a:lnTo>
                    <a:lnTo>
                      <a:pt x="447" y="279"/>
                    </a:lnTo>
                    <a:lnTo>
                      <a:pt x="445" y="285"/>
                    </a:lnTo>
                    <a:lnTo>
                      <a:pt x="440" y="290"/>
                    </a:lnTo>
                    <a:lnTo>
                      <a:pt x="440" y="295"/>
                    </a:lnTo>
                    <a:lnTo>
                      <a:pt x="437" y="303"/>
                    </a:lnTo>
                    <a:lnTo>
                      <a:pt x="435" y="307"/>
                    </a:lnTo>
                    <a:lnTo>
                      <a:pt x="430" y="308"/>
                    </a:lnTo>
                    <a:lnTo>
                      <a:pt x="427" y="310"/>
                    </a:lnTo>
                    <a:lnTo>
                      <a:pt x="423" y="315"/>
                    </a:lnTo>
                    <a:lnTo>
                      <a:pt x="418" y="318"/>
                    </a:lnTo>
                    <a:lnTo>
                      <a:pt x="416" y="322"/>
                    </a:lnTo>
                    <a:lnTo>
                      <a:pt x="413" y="327"/>
                    </a:lnTo>
                    <a:lnTo>
                      <a:pt x="410" y="332"/>
                    </a:lnTo>
                    <a:lnTo>
                      <a:pt x="408" y="335"/>
                    </a:lnTo>
                    <a:lnTo>
                      <a:pt x="406" y="339"/>
                    </a:lnTo>
                    <a:lnTo>
                      <a:pt x="403" y="344"/>
                    </a:lnTo>
                    <a:lnTo>
                      <a:pt x="401" y="347"/>
                    </a:lnTo>
                    <a:lnTo>
                      <a:pt x="399" y="352"/>
                    </a:lnTo>
                    <a:lnTo>
                      <a:pt x="401" y="359"/>
                    </a:lnTo>
                    <a:lnTo>
                      <a:pt x="401" y="363"/>
                    </a:lnTo>
                    <a:lnTo>
                      <a:pt x="401" y="366"/>
                    </a:lnTo>
                    <a:lnTo>
                      <a:pt x="401" y="373"/>
                    </a:lnTo>
                    <a:lnTo>
                      <a:pt x="403" y="376"/>
                    </a:lnTo>
                    <a:lnTo>
                      <a:pt x="406" y="380"/>
                    </a:lnTo>
                    <a:lnTo>
                      <a:pt x="410" y="386"/>
                    </a:lnTo>
                    <a:lnTo>
                      <a:pt x="410" y="390"/>
                    </a:lnTo>
                    <a:lnTo>
                      <a:pt x="413" y="395"/>
                    </a:lnTo>
                    <a:lnTo>
                      <a:pt x="416" y="400"/>
                    </a:lnTo>
                    <a:lnTo>
                      <a:pt x="422" y="405"/>
                    </a:lnTo>
                    <a:lnTo>
                      <a:pt x="428" y="408"/>
                    </a:lnTo>
                    <a:lnTo>
                      <a:pt x="430" y="413"/>
                    </a:lnTo>
                    <a:lnTo>
                      <a:pt x="428" y="417"/>
                    </a:lnTo>
                    <a:lnTo>
                      <a:pt x="427" y="424"/>
                    </a:lnTo>
                    <a:lnTo>
                      <a:pt x="423" y="429"/>
                    </a:lnTo>
                    <a:lnTo>
                      <a:pt x="422" y="434"/>
                    </a:lnTo>
                    <a:lnTo>
                      <a:pt x="422" y="437"/>
                    </a:lnTo>
                    <a:lnTo>
                      <a:pt x="420" y="444"/>
                    </a:lnTo>
                    <a:lnTo>
                      <a:pt x="418" y="454"/>
                    </a:lnTo>
                    <a:lnTo>
                      <a:pt x="418" y="458"/>
                    </a:lnTo>
                    <a:lnTo>
                      <a:pt x="420" y="461"/>
                    </a:lnTo>
                    <a:lnTo>
                      <a:pt x="423" y="463"/>
                    </a:lnTo>
                    <a:lnTo>
                      <a:pt x="427" y="466"/>
                    </a:lnTo>
                    <a:lnTo>
                      <a:pt x="420" y="468"/>
                    </a:lnTo>
                    <a:lnTo>
                      <a:pt x="418" y="473"/>
                    </a:lnTo>
                    <a:lnTo>
                      <a:pt x="416" y="476"/>
                    </a:lnTo>
                    <a:lnTo>
                      <a:pt x="416" y="480"/>
                    </a:lnTo>
                    <a:lnTo>
                      <a:pt x="418" y="483"/>
                    </a:lnTo>
                    <a:lnTo>
                      <a:pt x="416" y="486"/>
                    </a:lnTo>
                    <a:lnTo>
                      <a:pt x="422" y="491"/>
                    </a:lnTo>
                    <a:lnTo>
                      <a:pt x="418" y="497"/>
                    </a:lnTo>
                    <a:lnTo>
                      <a:pt x="416" y="503"/>
                    </a:lnTo>
                    <a:lnTo>
                      <a:pt x="415" y="507"/>
                    </a:lnTo>
                    <a:lnTo>
                      <a:pt x="415" y="512"/>
                    </a:lnTo>
                    <a:lnTo>
                      <a:pt x="413" y="515"/>
                    </a:lnTo>
                    <a:lnTo>
                      <a:pt x="413" y="520"/>
                    </a:lnTo>
                    <a:lnTo>
                      <a:pt x="415" y="524"/>
                    </a:lnTo>
                    <a:lnTo>
                      <a:pt x="415" y="527"/>
                    </a:lnTo>
                    <a:lnTo>
                      <a:pt x="415" y="532"/>
                    </a:lnTo>
                    <a:lnTo>
                      <a:pt x="416" y="537"/>
                    </a:lnTo>
                    <a:lnTo>
                      <a:pt x="416" y="542"/>
                    </a:lnTo>
                    <a:lnTo>
                      <a:pt x="413" y="546"/>
                    </a:lnTo>
                    <a:lnTo>
                      <a:pt x="413" y="551"/>
                    </a:lnTo>
                    <a:lnTo>
                      <a:pt x="411" y="558"/>
                    </a:lnTo>
                    <a:lnTo>
                      <a:pt x="408" y="561"/>
                    </a:lnTo>
                    <a:lnTo>
                      <a:pt x="408" y="566"/>
                    </a:lnTo>
                    <a:lnTo>
                      <a:pt x="410" y="569"/>
                    </a:lnTo>
                    <a:lnTo>
                      <a:pt x="410" y="573"/>
                    </a:lnTo>
                    <a:lnTo>
                      <a:pt x="410" y="576"/>
                    </a:lnTo>
                    <a:lnTo>
                      <a:pt x="411" y="581"/>
                    </a:lnTo>
                    <a:lnTo>
                      <a:pt x="411" y="588"/>
                    </a:lnTo>
                    <a:lnTo>
                      <a:pt x="410" y="592"/>
                    </a:lnTo>
                    <a:lnTo>
                      <a:pt x="410" y="598"/>
                    </a:lnTo>
                    <a:lnTo>
                      <a:pt x="406" y="602"/>
                    </a:lnTo>
                    <a:lnTo>
                      <a:pt x="405" y="610"/>
                    </a:lnTo>
                    <a:lnTo>
                      <a:pt x="405" y="615"/>
                    </a:lnTo>
                    <a:lnTo>
                      <a:pt x="406" y="619"/>
                    </a:lnTo>
                    <a:lnTo>
                      <a:pt x="406" y="622"/>
                    </a:lnTo>
                    <a:lnTo>
                      <a:pt x="406" y="625"/>
                    </a:lnTo>
                    <a:lnTo>
                      <a:pt x="408" y="631"/>
                    </a:lnTo>
                    <a:lnTo>
                      <a:pt x="406" y="637"/>
                    </a:lnTo>
                    <a:lnTo>
                      <a:pt x="403" y="641"/>
                    </a:lnTo>
                    <a:lnTo>
                      <a:pt x="401" y="647"/>
                    </a:lnTo>
                    <a:lnTo>
                      <a:pt x="399" y="651"/>
                    </a:lnTo>
                    <a:lnTo>
                      <a:pt x="398" y="656"/>
                    </a:lnTo>
                    <a:lnTo>
                      <a:pt x="396" y="659"/>
                    </a:lnTo>
                    <a:lnTo>
                      <a:pt x="396" y="668"/>
                    </a:lnTo>
                    <a:lnTo>
                      <a:pt x="396" y="675"/>
                    </a:lnTo>
                    <a:lnTo>
                      <a:pt x="396" y="678"/>
                    </a:lnTo>
                    <a:lnTo>
                      <a:pt x="399" y="683"/>
                    </a:lnTo>
                    <a:lnTo>
                      <a:pt x="403" y="685"/>
                    </a:lnTo>
                    <a:lnTo>
                      <a:pt x="405" y="688"/>
                    </a:lnTo>
                    <a:lnTo>
                      <a:pt x="399" y="688"/>
                    </a:lnTo>
                    <a:lnTo>
                      <a:pt x="396" y="690"/>
                    </a:lnTo>
                    <a:lnTo>
                      <a:pt x="394" y="693"/>
                    </a:lnTo>
                    <a:lnTo>
                      <a:pt x="393" y="698"/>
                    </a:lnTo>
                    <a:lnTo>
                      <a:pt x="389" y="702"/>
                    </a:lnTo>
                    <a:lnTo>
                      <a:pt x="389" y="705"/>
                    </a:lnTo>
                    <a:lnTo>
                      <a:pt x="388" y="710"/>
                    </a:lnTo>
                    <a:lnTo>
                      <a:pt x="388" y="715"/>
                    </a:lnTo>
                    <a:lnTo>
                      <a:pt x="386" y="722"/>
                    </a:lnTo>
                    <a:lnTo>
                      <a:pt x="386" y="726"/>
                    </a:lnTo>
                    <a:lnTo>
                      <a:pt x="389" y="727"/>
                    </a:lnTo>
                    <a:lnTo>
                      <a:pt x="391" y="731"/>
                    </a:lnTo>
                    <a:lnTo>
                      <a:pt x="388" y="737"/>
                    </a:lnTo>
                    <a:lnTo>
                      <a:pt x="386" y="742"/>
                    </a:lnTo>
                    <a:lnTo>
                      <a:pt x="382" y="746"/>
                    </a:lnTo>
                    <a:lnTo>
                      <a:pt x="377" y="746"/>
                    </a:lnTo>
                    <a:lnTo>
                      <a:pt x="376" y="751"/>
                    </a:lnTo>
                    <a:lnTo>
                      <a:pt x="374" y="756"/>
                    </a:lnTo>
                    <a:lnTo>
                      <a:pt x="376" y="759"/>
                    </a:lnTo>
                    <a:lnTo>
                      <a:pt x="371" y="754"/>
                    </a:lnTo>
                    <a:lnTo>
                      <a:pt x="371" y="751"/>
                    </a:lnTo>
                    <a:lnTo>
                      <a:pt x="371" y="746"/>
                    </a:lnTo>
                    <a:lnTo>
                      <a:pt x="365" y="744"/>
                    </a:lnTo>
                    <a:lnTo>
                      <a:pt x="362" y="746"/>
                    </a:lnTo>
                    <a:lnTo>
                      <a:pt x="357" y="746"/>
                    </a:lnTo>
                    <a:lnTo>
                      <a:pt x="352" y="749"/>
                    </a:lnTo>
                    <a:lnTo>
                      <a:pt x="345" y="742"/>
                    </a:lnTo>
                    <a:lnTo>
                      <a:pt x="342" y="742"/>
                    </a:lnTo>
                    <a:lnTo>
                      <a:pt x="340" y="739"/>
                    </a:lnTo>
                    <a:lnTo>
                      <a:pt x="336" y="734"/>
                    </a:lnTo>
                    <a:lnTo>
                      <a:pt x="331" y="731"/>
                    </a:lnTo>
                    <a:lnTo>
                      <a:pt x="328" y="729"/>
                    </a:lnTo>
                    <a:lnTo>
                      <a:pt x="325" y="726"/>
                    </a:lnTo>
                    <a:lnTo>
                      <a:pt x="321" y="722"/>
                    </a:lnTo>
                    <a:lnTo>
                      <a:pt x="318" y="720"/>
                    </a:lnTo>
                    <a:lnTo>
                      <a:pt x="314" y="717"/>
                    </a:lnTo>
                    <a:lnTo>
                      <a:pt x="309" y="717"/>
                    </a:lnTo>
                    <a:lnTo>
                      <a:pt x="301" y="717"/>
                    </a:lnTo>
                    <a:lnTo>
                      <a:pt x="297" y="714"/>
                    </a:lnTo>
                    <a:lnTo>
                      <a:pt x="294" y="712"/>
                    </a:lnTo>
                    <a:lnTo>
                      <a:pt x="291" y="712"/>
                    </a:lnTo>
                    <a:lnTo>
                      <a:pt x="285" y="714"/>
                    </a:lnTo>
                    <a:lnTo>
                      <a:pt x="282" y="715"/>
                    </a:lnTo>
                    <a:lnTo>
                      <a:pt x="277" y="720"/>
                    </a:lnTo>
                    <a:lnTo>
                      <a:pt x="275" y="724"/>
                    </a:lnTo>
                    <a:lnTo>
                      <a:pt x="277" y="729"/>
                    </a:lnTo>
                    <a:lnTo>
                      <a:pt x="272" y="729"/>
                    </a:lnTo>
                    <a:lnTo>
                      <a:pt x="267" y="722"/>
                    </a:lnTo>
                    <a:lnTo>
                      <a:pt x="263" y="719"/>
                    </a:lnTo>
                    <a:lnTo>
                      <a:pt x="258" y="717"/>
                    </a:lnTo>
                    <a:lnTo>
                      <a:pt x="253" y="720"/>
                    </a:lnTo>
                    <a:lnTo>
                      <a:pt x="248" y="724"/>
                    </a:lnTo>
                    <a:lnTo>
                      <a:pt x="243" y="732"/>
                    </a:lnTo>
                    <a:lnTo>
                      <a:pt x="240" y="736"/>
                    </a:lnTo>
                    <a:lnTo>
                      <a:pt x="238" y="739"/>
                    </a:lnTo>
                    <a:lnTo>
                      <a:pt x="236" y="742"/>
                    </a:lnTo>
                    <a:lnTo>
                      <a:pt x="234" y="749"/>
                    </a:lnTo>
                    <a:lnTo>
                      <a:pt x="236" y="754"/>
                    </a:lnTo>
                    <a:lnTo>
                      <a:pt x="236" y="759"/>
                    </a:lnTo>
                    <a:lnTo>
                      <a:pt x="236" y="763"/>
                    </a:lnTo>
                    <a:lnTo>
                      <a:pt x="240" y="766"/>
                    </a:lnTo>
                    <a:lnTo>
                      <a:pt x="241" y="770"/>
                    </a:lnTo>
                    <a:lnTo>
                      <a:pt x="245" y="773"/>
                    </a:lnTo>
                    <a:lnTo>
                      <a:pt x="243" y="776"/>
                    </a:lnTo>
                    <a:lnTo>
                      <a:pt x="241" y="780"/>
                    </a:lnTo>
                    <a:lnTo>
                      <a:pt x="240" y="785"/>
                    </a:lnTo>
                    <a:lnTo>
                      <a:pt x="240" y="792"/>
                    </a:lnTo>
                    <a:lnTo>
                      <a:pt x="236" y="797"/>
                    </a:lnTo>
                    <a:lnTo>
                      <a:pt x="231" y="797"/>
                    </a:lnTo>
                    <a:lnTo>
                      <a:pt x="229" y="802"/>
                    </a:lnTo>
                    <a:lnTo>
                      <a:pt x="226" y="805"/>
                    </a:lnTo>
                    <a:lnTo>
                      <a:pt x="217" y="812"/>
                    </a:lnTo>
                    <a:lnTo>
                      <a:pt x="212" y="817"/>
                    </a:lnTo>
                    <a:lnTo>
                      <a:pt x="207" y="822"/>
                    </a:lnTo>
                    <a:lnTo>
                      <a:pt x="205" y="826"/>
                    </a:lnTo>
                    <a:lnTo>
                      <a:pt x="202" y="827"/>
                    </a:lnTo>
                    <a:lnTo>
                      <a:pt x="199" y="831"/>
                    </a:lnTo>
                    <a:lnTo>
                      <a:pt x="194" y="834"/>
                    </a:lnTo>
                    <a:lnTo>
                      <a:pt x="190" y="836"/>
                    </a:lnTo>
                    <a:lnTo>
                      <a:pt x="185" y="836"/>
                    </a:lnTo>
                    <a:lnTo>
                      <a:pt x="185" y="832"/>
                    </a:lnTo>
                    <a:lnTo>
                      <a:pt x="178" y="827"/>
                    </a:lnTo>
                    <a:lnTo>
                      <a:pt x="175" y="829"/>
                    </a:lnTo>
                    <a:lnTo>
                      <a:pt x="171" y="824"/>
                    </a:lnTo>
                    <a:lnTo>
                      <a:pt x="168" y="822"/>
                    </a:lnTo>
                    <a:lnTo>
                      <a:pt x="163" y="819"/>
                    </a:lnTo>
                    <a:lnTo>
                      <a:pt x="160" y="817"/>
                    </a:lnTo>
                    <a:lnTo>
                      <a:pt x="156" y="814"/>
                    </a:lnTo>
                    <a:lnTo>
                      <a:pt x="154" y="817"/>
                    </a:lnTo>
                    <a:lnTo>
                      <a:pt x="151" y="820"/>
                    </a:lnTo>
                    <a:lnTo>
                      <a:pt x="144" y="824"/>
                    </a:lnTo>
                    <a:lnTo>
                      <a:pt x="141" y="824"/>
                    </a:lnTo>
                    <a:lnTo>
                      <a:pt x="141" y="827"/>
                    </a:lnTo>
                    <a:lnTo>
                      <a:pt x="137" y="829"/>
                    </a:lnTo>
                    <a:lnTo>
                      <a:pt x="136" y="832"/>
                    </a:lnTo>
                    <a:lnTo>
                      <a:pt x="137" y="837"/>
                    </a:lnTo>
                    <a:lnTo>
                      <a:pt x="132" y="839"/>
                    </a:lnTo>
                    <a:lnTo>
                      <a:pt x="134" y="836"/>
                    </a:lnTo>
                    <a:lnTo>
                      <a:pt x="134" y="832"/>
                    </a:lnTo>
                    <a:lnTo>
                      <a:pt x="132" y="829"/>
                    </a:lnTo>
                    <a:lnTo>
                      <a:pt x="127" y="831"/>
                    </a:lnTo>
                    <a:lnTo>
                      <a:pt x="124" y="831"/>
                    </a:lnTo>
                    <a:lnTo>
                      <a:pt x="124" y="827"/>
                    </a:lnTo>
                    <a:lnTo>
                      <a:pt x="126" y="824"/>
                    </a:lnTo>
                    <a:lnTo>
                      <a:pt x="127" y="815"/>
                    </a:lnTo>
                    <a:lnTo>
                      <a:pt x="127" y="812"/>
                    </a:lnTo>
                    <a:lnTo>
                      <a:pt x="126" y="809"/>
                    </a:lnTo>
                    <a:lnTo>
                      <a:pt x="122" y="805"/>
                    </a:lnTo>
                    <a:lnTo>
                      <a:pt x="119" y="807"/>
                    </a:lnTo>
                    <a:lnTo>
                      <a:pt x="115" y="798"/>
                    </a:lnTo>
                    <a:lnTo>
                      <a:pt x="114" y="795"/>
                    </a:lnTo>
                    <a:lnTo>
                      <a:pt x="112" y="792"/>
                    </a:lnTo>
                    <a:lnTo>
                      <a:pt x="114" y="788"/>
                    </a:lnTo>
                    <a:lnTo>
                      <a:pt x="115" y="785"/>
                    </a:lnTo>
                    <a:lnTo>
                      <a:pt x="115" y="781"/>
                    </a:lnTo>
                    <a:lnTo>
                      <a:pt x="114" y="778"/>
                    </a:lnTo>
                    <a:lnTo>
                      <a:pt x="110" y="776"/>
                    </a:lnTo>
                    <a:lnTo>
                      <a:pt x="107" y="776"/>
                    </a:lnTo>
                    <a:lnTo>
                      <a:pt x="102" y="771"/>
                    </a:lnTo>
                    <a:lnTo>
                      <a:pt x="98" y="770"/>
                    </a:lnTo>
                    <a:lnTo>
                      <a:pt x="95" y="770"/>
                    </a:lnTo>
                    <a:lnTo>
                      <a:pt x="90" y="770"/>
                    </a:lnTo>
                    <a:lnTo>
                      <a:pt x="86" y="771"/>
                    </a:lnTo>
                    <a:lnTo>
                      <a:pt x="85" y="776"/>
                    </a:lnTo>
                    <a:lnTo>
                      <a:pt x="83" y="781"/>
                    </a:lnTo>
                    <a:lnTo>
                      <a:pt x="81" y="785"/>
                    </a:lnTo>
                    <a:lnTo>
                      <a:pt x="81" y="793"/>
                    </a:lnTo>
                    <a:lnTo>
                      <a:pt x="80" y="798"/>
                    </a:lnTo>
                    <a:lnTo>
                      <a:pt x="80" y="802"/>
                    </a:lnTo>
                    <a:lnTo>
                      <a:pt x="76" y="805"/>
                    </a:lnTo>
                    <a:lnTo>
                      <a:pt x="71" y="807"/>
                    </a:lnTo>
                    <a:lnTo>
                      <a:pt x="66" y="800"/>
                    </a:lnTo>
                    <a:lnTo>
                      <a:pt x="64" y="795"/>
                    </a:lnTo>
                    <a:lnTo>
                      <a:pt x="63" y="790"/>
                    </a:lnTo>
                    <a:lnTo>
                      <a:pt x="59" y="785"/>
                    </a:lnTo>
                    <a:lnTo>
                      <a:pt x="57" y="780"/>
                    </a:lnTo>
                    <a:lnTo>
                      <a:pt x="56" y="776"/>
                    </a:lnTo>
                    <a:lnTo>
                      <a:pt x="56" y="773"/>
                    </a:lnTo>
                    <a:lnTo>
                      <a:pt x="56" y="770"/>
                    </a:lnTo>
                    <a:lnTo>
                      <a:pt x="54" y="765"/>
                    </a:lnTo>
                    <a:lnTo>
                      <a:pt x="56" y="761"/>
                    </a:lnTo>
                    <a:lnTo>
                      <a:pt x="54" y="758"/>
                    </a:lnTo>
                    <a:lnTo>
                      <a:pt x="56" y="754"/>
                    </a:lnTo>
                    <a:lnTo>
                      <a:pt x="59" y="753"/>
                    </a:lnTo>
                    <a:lnTo>
                      <a:pt x="61" y="756"/>
                    </a:lnTo>
                    <a:lnTo>
                      <a:pt x="69" y="756"/>
                    </a:lnTo>
                    <a:lnTo>
                      <a:pt x="73" y="754"/>
                    </a:lnTo>
                    <a:lnTo>
                      <a:pt x="76" y="758"/>
                    </a:lnTo>
                    <a:lnTo>
                      <a:pt x="81" y="761"/>
                    </a:lnTo>
                    <a:lnTo>
                      <a:pt x="83" y="765"/>
                    </a:lnTo>
                    <a:lnTo>
                      <a:pt x="83" y="770"/>
                    </a:lnTo>
                    <a:lnTo>
                      <a:pt x="88" y="771"/>
                    </a:lnTo>
                    <a:lnTo>
                      <a:pt x="88" y="768"/>
                    </a:lnTo>
                    <a:lnTo>
                      <a:pt x="90" y="763"/>
                    </a:lnTo>
                    <a:lnTo>
                      <a:pt x="90" y="759"/>
                    </a:lnTo>
                    <a:lnTo>
                      <a:pt x="88" y="756"/>
                    </a:lnTo>
                    <a:lnTo>
                      <a:pt x="86" y="751"/>
                    </a:lnTo>
                    <a:lnTo>
                      <a:pt x="83" y="751"/>
                    </a:lnTo>
                    <a:lnTo>
                      <a:pt x="78" y="751"/>
                    </a:lnTo>
                    <a:lnTo>
                      <a:pt x="76" y="746"/>
                    </a:lnTo>
                    <a:lnTo>
                      <a:pt x="78" y="742"/>
                    </a:lnTo>
                    <a:lnTo>
                      <a:pt x="78" y="737"/>
                    </a:lnTo>
                    <a:lnTo>
                      <a:pt x="75" y="734"/>
                    </a:lnTo>
                    <a:lnTo>
                      <a:pt x="71" y="731"/>
                    </a:lnTo>
                    <a:lnTo>
                      <a:pt x="69" y="734"/>
                    </a:lnTo>
                    <a:lnTo>
                      <a:pt x="71" y="739"/>
                    </a:lnTo>
                    <a:lnTo>
                      <a:pt x="69" y="731"/>
                    </a:lnTo>
                    <a:lnTo>
                      <a:pt x="68" y="727"/>
                    </a:lnTo>
                    <a:lnTo>
                      <a:pt x="66" y="722"/>
                    </a:lnTo>
                    <a:lnTo>
                      <a:pt x="63" y="720"/>
                    </a:lnTo>
                    <a:lnTo>
                      <a:pt x="59" y="717"/>
                    </a:lnTo>
                    <a:lnTo>
                      <a:pt x="59" y="712"/>
                    </a:lnTo>
                    <a:lnTo>
                      <a:pt x="66" y="705"/>
                    </a:lnTo>
                    <a:lnTo>
                      <a:pt x="69" y="702"/>
                    </a:lnTo>
                    <a:lnTo>
                      <a:pt x="71" y="698"/>
                    </a:lnTo>
                    <a:lnTo>
                      <a:pt x="76" y="695"/>
                    </a:lnTo>
                    <a:lnTo>
                      <a:pt x="76" y="692"/>
                    </a:lnTo>
                    <a:lnTo>
                      <a:pt x="76" y="687"/>
                    </a:lnTo>
                    <a:lnTo>
                      <a:pt x="76" y="681"/>
                    </a:lnTo>
                    <a:lnTo>
                      <a:pt x="73" y="678"/>
                    </a:lnTo>
                    <a:lnTo>
                      <a:pt x="73" y="675"/>
                    </a:lnTo>
                    <a:lnTo>
                      <a:pt x="69" y="673"/>
                    </a:lnTo>
                    <a:lnTo>
                      <a:pt x="66" y="671"/>
                    </a:lnTo>
                    <a:lnTo>
                      <a:pt x="64" y="668"/>
                    </a:lnTo>
                    <a:lnTo>
                      <a:pt x="64" y="664"/>
                    </a:lnTo>
                    <a:lnTo>
                      <a:pt x="61" y="661"/>
                    </a:lnTo>
                    <a:lnTo>
                      <a:pt x="63" y="656"/>
                    </a:lnTo>
                    <a:lnTo>
                      <a:pt x="64" y="653"/>
                    </a:lnTo>
                    <a:lnTo>
                      <a:pt x="69" y="651"/>
                    </a:lnTo>
                    <a:lnTo>
                      <a:pt x="71" y="644"/>
                    </a:lnTo>
                    <a:lnTo>
                      <a:pt x="71" y="641"/>
                    </a:lnTo>
                    <a:lnTo>
                      <a:pt x="69" y="636"/>
                    </a:lnTo>
                    <a:lnTo>
                      <a:pt x="66" y="634"/>
                    </a:lnTo>
                    <a:lnTo>
                      <a:pt x="64" y="627"/>
                    </a:lnTo>
                    <a:lnTo>
                      <a:pt x="68" y="622"/>
                    </a:lnTo>
                    <a:lnTo>
                      <a:pt x="73" y="615"/>
                    </a:lnTo>
                    <a:lnTo>
                      <a:pt x="76" y="610"/>
                    </a:lnTo>
                    <a:lnTo>
                      <a:pt x="80" y="603"/>
                    </a:lnTo>
                    <a:lnTo>
                      <a:pt x="83" y="600"/>
                    </a:lnTo>
                    <a:lnTo>
                      <a:pt x="83" y="593"/>
                    </a:lnTo>
                    <a:lnTo>
                      <a:pt x="86" y="590"/>
                    </a:lnTo>
                    <a:lnTo>
                      <a:pt x="86" y="586"/>
                    </a:lnTo>
                    <a:lnTo>
                      <a:pt x="88" y="581"/>
                    </a:lnTo>
                    <a:lnTo>
                      <a:pt x="86" y="576"/>
                    </a:lnTo>
                    <a:lnTo>
                      <a:pt x="83" y="575"/>
                    </a:lnTo>
                    <a:lnTo>
                      <a:pt x="83" y="569"/>
                    </a:lnTo>
                    <a:lnTo>
                      <a:pt x="83" y="563"/>
                    </a:lnTo>
                    <a:lnTo>
                      <a:pt x="85" y="558"/>
                    </a:lnTo>
                    <a:lnTo>
                      <a:pt x="81" y="554"/>
                    </a:lnTo>
                    <a:lnTo>
                      <a:pt x="81" y="551"/>
                    </a:lnTo>
                    <a:lnTo>
                      <a:pt x="83" y="544"/>
                    </a:lnTo>
                    <a:lnTo>
                      <a:pt x="81" y="541"/>
                    </a:lnTo>
                    <a:lnTo>
                      <a:pt x="83" y="536"/>
                    </a:lnTo>
                    <a:lnTo>
                      <a:pt x="81" y="532"/>
                    </a:lnTo>
                    <a:lnTo>
                      <a:pt x="81" y="527"/>
                    </a:lnTo>
                    <a:lnTo>
                      <a:pt x="83" y="522"/>
                    </a:lnTo>
                    <a:lnTo>
                      <a:pt x="88" y="525"/>
                    </a:lnTo>
                    <a:lnTo>
                      <a:pt x="93" y="537"/>
                    </a:lnTo>
                    <a:lnTo>
                      <a:pt x="95" y="541"/>
                    </a:lnTo>
                    <a:lnTo>
                      <a:pt x="98" y="537"/>
                    </a:lnTo>
                    <a:lnTo>
                      <a:pt x="100" y="534"/>
                    </a:lnTo>
                    <a:lnTo>
                      <a:pt x="102" y="530"/>
                    </a:lnTo>
                    <a:lnTo>
                      <a:pt x="100" y="527"/>
                    </a:lnTo>
                    <a:lnTo>
                      <a:pt x="103" y="522"/>
                    </a:lnTo>
                    <a:lnTo>
                      <a:pt x="107" y="519"/>
                    </a:lnTo>
                    <a:lnTo>
                      <a:pt x="109" y="514"/>
                    </a:lnTo>
                    <a:lnTo>
                      <a:pt x="110" y="503"/>
                    </a:lnTo>
                    <a:lnTo>
                      <a:pt x="110" y="498"/>
                    </a:lnTo>
                    <a:lnTo>
                      <a:pt x="110" y="495"/>
                    </a:lnTo>
                    <a:lnTo>
                      <a:pt x="110" y="491"/>
                    </a:lnTo>
                    <a:lnTo>
                      <a:pt x="115" y="488"/>
                    </a:lnTo>
                    <a:lnTo>
                      <a:pt x="110" y="488"/>
                    </a:lnTo>
                    <a:lnTo>
                      <a:pt x="109" y="485"/>
                    </a:lnTo>
                    <a:lnTo>
                      <a:pt x="109" y="481"/>
                    </a:lnTo>
                    <a:lnTo>
                      <a:pt x="105" y="478"/>
                    </a:lnTo>
                    <a:lnTo>
                      <a:pt x="102" y="475"/>
                    </a:lnTo>
                    <a:lnTo>
                      <a:pt x="97" y="475"/>
                    </a:lnTo>
                    <a:lnTo>
                      <a:pt x="90" y="475"/>
                    </a:lnTo>
                    <a:lnTo>
                      <a:pt x="86" y="475"/>
                    </a:lnTo>
                    <a:lnTo>
                      <a:pt x="85" y="478"/>
                    </a:lnTo>
                    <a:lnTo>
                      <a:pt x="81" y="481"/>
                    </a:lnTo>
                    <a:lnTo>
                      <a:pt x="80" y="488"/>
                    </a:lnTo>
                    <a:lnTo>
                      <a:pt x="80" y="485"/>
                    </a:lnTo>
                    <a:lnTo>
                      <a:pt x="78" y="480"/>
                    </a:lnTo>
                    <a:lnTo>
                      <a:pt x="73" y="476"/>
                    </a:lnTo>
                    <a:lnTo>
                      <a:pt x="69" y="469"/>
                    </a:lnTo>
                    <a:lnTo>
                      <a:pt x="69" y="464"/>
                    </a:lnTo>
                    <a:lnTo>
                      <a:pt x="69" y="461"/>
                    </a:lnTo>
                    <a:lnTo>
                      <a:pt x="69" y="456"/>
                    </a:lnTo>
                    <a:lnTo>
                      <a:pt x="69" y="452"/>
                    </a:lnTo>
                    <a:lnTo>
                      <a:pt x="68" y="447"/>
                    </a:lnTo>
                    <a:lnTo>
                      <a:pt x="71" y="442"/>
                    </a:lnTo>
                    <a:lnTo>
                      <a:pt x="73" y="439"/>
                    </a:lnTo>
                    <a:lnTo>
                      <a:pt x="73" y="436"/>
                    </a:lnTo>
                    <a:lnTo>
                      <a:pt x="71" y="430"/>
                    </a:lnTo>
                    <a:lnTo>
                      <a:pt x="68" y="430"/>
                    </a:lnTo>
                    <a:lnTo>
                      <a:pt x="63" y="430"/>
                    </a:lnTo>
                    <a:lnTo>
                      <a:pt x="64" y="427"/>
                    </a:lnTo>
                    <a:lnTo>
                      <a:pt x="68" y="425"/>
                    </a:lnTo>
                    <a:lnTo>
                      <a:pt x="71" y="424"/>
                    </a:lnTo>
                    <a:lnTo>
                      <a:pt x="76" y="425"/>
                    </a:lnTo>
                    <a:lnTo>
                      <a:pt x="80" y="424"/>
                    </a:lnTo>
                    <a:lnTo>
                      <a:pt x="83" y="424"/>
                    </a:lnTo>
                    <a:lnTo>
                      <a:pt x="88" y="419"/>
                    </a:lnTo>
                    <a:lnTo>
                      <a:pt x="92" y="415"/>
                    </a:lnTo>
                    <a:lnTo>
                      <a:pt x="95" y="410"/>
                    </a:lnTo>
                    <a:lnTo>
                      <a:pt x="93" y="405"/>
                    </a:lnTo>
                    <a:lnTo>
                      <a:pt x="93" y="400"/>
                    </a:lnTo>
                    <a:lnTo>
                      <a:pt x="90" y="395"/>
                    </a:lnTo>
                    <a:lnTo>
                      <a:pt x="86" y="388"/>
                    </a:lnTo>
                    <a:lnTo>
                      <a:pt x="86" y="381"/>
                    </a:lnTo>
                    <a:lnTo>
                      <a:pt x="86" y="376"/>
                    </a:lnTo>
                    <a:lnTo>
                      <a:pt x="88" y="373"/>
                    </a:lnTo>
                    <a:lnTo>
                      <a:pt x="86" y="369"/>
                    </a:lnTo>
                    <a:lnTo>
                      <a:pt x="88" y="361"/>
                    </a:lnTo>
                    <a:lnTo>
                      <a:pt x="88" y="357"/>
                    </a:lnTo>
                    <a:lnTo>
                      <a:pt x="90" y="352"/>
                    </a:lnTo>
                    <a:lnTo>
                      <a:pt x="92" y="347"/>
                    </a:lnTo>
                    <a:lnTo>
                      <a:pt x="93" y="341"/>
                    </a:lnTo>
                    <a:lnTo>
                      <a:pt x="88" y="335"/>
                    </a:lnTo>
                    <a:lnTo>
                      <a:pt x="88" y="332"/>
                    </a:lnTo>
                    <a:lnTo>
                      <a:pt x="85" y="329"/>
                    </a:lnTo>
                    <a:lnTo>
                      <a:pt x="81" y="329"/>
                    </a:lnTo>
                    <a:lnTo>
                      <a:pt x="80" y="325"/>
                    </a:lnTo>
                    <a:lnTo>
                      <a:pt x="71" y="322"/>
                    </a:lnTo>
                    <a:lnTo>
                      <a:pt x="68" y="322"/>
                    </a:lnTo>
                    <a:lnTo>
                      <a:pt x="66" y="318"/>
                    </a:lnTo>
                    <a:lnTo>
                      <a:pt x="64" y="313"/>
                    </a:lnTo>
                    <a:lnTo>
                      <a:pt x="68" y="307"/>
                    </a:lnTo>
                    <a:lnTo>
                      <a:pt x="69" y="302"/>
                    </a:lnTo>
                    <a:lnTo>
                      <a:pt x="69" y="298"/>
                    </a:lnTo>
                    <a:lnTo>
                      <a:pt x="69" y="291"/>
                    </a:lnTo>
                    <a:lnTo>
                      <a:pt x="68" y="283"/>
                    </a:lnTo>
                    <a:lnTo>
                      <a:pt x="66" y="276"/>
                    </a:lnTo>
                    <a:lnTo>
                      <a:pt x="64" y="273"/>
                    </a:lnTo>
                    <a:lnTo>
                      <a:pt x="63" y="268"/>
                    </a:lnTo>
                    <a:lnTo>
                      <a:pt x="59" y="268"/>
                    </a:lnTo>
                    <a:lnTo>
                      <a:pt x="56" y="264"/>
                    </a:lnTo>
                    <a:lnTo>
                      <a:pt x="52" y="259"/>
                    </a:lnTo>
                    <a:lnTo>
                      <a:pt x="51" y="254"/>
                    </a:lnTo>
                    <a:lnTo>
                      <a:pt x="49" y="251"/>
                    </a:lnTo>
                    <a:lnTo>
                      <a:pt x="47" y="244"/>
                    </a:lnTo>
                    <a:lnTo>
                      <a:pt x="49" y="240"/>
                    </a:lnTo>
                    <a:lnTo>
                      <a:pt x="46" y="235"/>
                    </a:lnTo>
                    <a:lnTo>
                      <a:pt x="42" y="232"/>
                    </a:lnTo>
                    <a:lnTo>
                      <a:pt x="37" y="232"/>
                    </a:lnTo>
                    <a:lnTo>
                      <a:pt x="32" y="235"/>
                    </a:lnTo>
                    <a:lnTo>
                      <a:pt x="29" y="237"/>
                    </a:lnTo>
                    <a:lnTo>
                      <a:pt x="29" y="240"/>
                    </a:lnTo>
                    <a:lnTo>
                      <a:pt x="25" y="240"/>
                    </a:lnTo>
                    <a:lnTo>
                      <a:pt x="22" y="240"/>
                    </a:lnTo>
                    <a:lnTo>
                      <a:pt x="17" y="240"/>
                    </a:lnTo>
                    <a:lnTo>
                      <a:pt x="22" y="232"/>
                    </a:lnTo>
                    <a:lnTo>
                      <a:pt x="20" y="225"/>
                    </a:lnTo>
                    <a:lnTo>
                      <a:pt x="17" y="224"/>
                    </a:lnTo>
                    <a:lnTo>
                      <a:pt x="13" y="227"/>
                    </a:lnTo>
                    <a:lnTo>
                      <a:pt x="8" y="235"/>
                    </a:lnTo>
                    <a:lnTo>
                      <a:pt x="8" y="239"/>
                    </a:lnTo>
                    <a:lnTo>
                      <a:pt x="8" y="242"/>
                    </a:lnTo>
                    <a:lnTo>
                      <a:pt x="6" y="239"/>
                    </a:lnTo>
                    <a:lnTo>
                      <a:pt x="3" y="235"/>
                    </a:lnTo>
                    <a:lnTo>
                      <a:pt x="3" y="230"/>
                    </a:lnTo>
                    <a:lnTo>
                      <a:pt x="1" y="224"/>
                    </a:lnTo>
                    <a:lnTo>
                      <a:pt x="3" y="220"/>
                    </a:lnTo>
                    <a:lnTo>
                      <a:pt x="8" y="220"/>
                    </a:lnTo>
                    <a:lnTo>
                      <a:pt x="13" y="217"/>
                    </a:lnTo>
                    <a:lnTo>
                      <a:pt x="15" y="210"/>
                    </a:lnTo>
                    <a:lnTo>
                      <a:pt x="17" y="205"/>
                    </a:lnTo>
                    <a:lnTo>
                      <a:pt x="18" y="200"/>
                    </a:lnTo>
                    <a:lnTo>
                      <a:pt x="15" y="198"/>
                    </a:lnTo>
                    <a:lnTo>
                      <a:pt x="12" y="196"/>
                    </a:lnTo>
                    <a:lnTo>
                      <a:pt x="10" y="193"/>
                    </a:lnTo>
                    <a:lnTo>
                      <a:pt x="5" y="190"/>
                    </a:lnTo>
                    <a:lnTo>
                      <a:pt x="3" y="185"/>
                    </a:lnTo>
                    <a:lnTo>
                      <a:pt x="0" y="181"/>
                    </a:lnTo>
                    <a:lnTo>
                      <a:pt x="5" y="178"/>
                    </a:lnTo>
                    <a:lnTo>
                      <a:pt x="8" y="173"/>
                    </a:lnTo>
                    <a:lnTo>
                      <a:pt x="8" y="169"/>
                    </a:lnTo>
                    <a:lnTo>
                      <a:pt x="6" y="162"/>
                    </a:lnTo>
                    <a:lnTo>
                      <a:pt x="12" y="159"/>
                    </a:lnTo>
                    <a:lnTo>
                      <a:pt x="13" y="156"/>
                    </a:lnTo>
                    <a:lnTo>
                      <a:pt x="17" y="149"/>
                    </a:lnTo>
                    <a:lnTo>
                      <a:pt x="18" y="144"/>
                    </a:lnTo>
                    <a:lnTo>
                      <a:pt x="20" y="140"/>
                    </a:lnTo>
                    <a:lnTo>
                      <a:pt x="23" y="135"/>
                    </a:lnTo>
                    <a:lnTo>
                      <a:pt x="23" y="130"/>
                    </a:lnTo>
                    <a:lnTo>
                      <a:pt x="23" y="127"/>
                    </a:lnTo>
                    <a:lnTo>
                      <a:pt x="18" y="122"/>
                    </a:lnTo>
                    <a:lnTo>
                      <a:pt x="15" y="118"/>
                    </a:lnTo>
                    <a:lnTo>
                      <a:pt x="13" y="115"/>
                    </a:lnTo>
                    <a:lnTo>
                      <a:pt x="12" y="110"/>
                    </a:lnTo>
                    <a:lnTo>
                      <a:pt x="15" y="106"/>
                    </a:lnTo>
                    <a:lnTo>
                      <a:pt x="18" y="100"/>
                    </a:lnTo>
                    <a:lnTo>
                      <a:pt x="22" y="103"/>
                    </a:lnTo>
                    <a:lnTo>
                      <a:pt x="27" y="105"/>
                    </a:lnTo>
                    <a:lnTo>
                      <a:pt x="27" y="110"/>
                    </a:lnTo>
                    <a:lnTo>
                      <a:pt x="25" y="113"/>
                    </a:lnTo>
                    <a:lnTo>
                      <a:pt x="29" y="118"/>
                    </a:lnTo>
                    <a:lnTo>
                      <a:pt x="27" y="122"/>
                    </a:lnTo>
                    <a:lnTo>
                      <a:pt x="32" y="127"/>
                    </a:lnTo>
                    <a:lnTo>
                      <a:pt x="35" y="134"/>
                    </a:lnTo>
                    <a:lnTo>
                      <a:pt x="39" y="137"/>
                    </a:lnTo>
                    <a:lnTo>
                      <a:pt x="46" y="142"/>
                    </a:lnTo>
                    <a:lnTo>
                      <a:pt x="49" y="144"/>
                    </a:lnTo>
                    <a:lnTo>
                      <a:pt x="54" y="146"/>
                    </a:lnTo>
                    <a:lnTo>
                      <a:pt x="57" y="142"/>
                    </a:lnTo>
                    <a:lnTo>
                      <a:pt x="63" y="142"/>
                    </a:lnTo>
                    <a:lnTo>
                      <a:pt x="66" y="142"/>
                    </a:lnTo>
                    <a:lnTo>
                      <a:pt x="63" y="142"/>
                    </a:lnTo>
                    <a:lnTo>
                      <a:pt x="59" y="142"/>
                    </a:lnTo>
                    <a:lnTo>
                      <a:pt x="57" y="146"/>
                    </a:lnTo>
                    <a:lnTo>
                      <a:pt x="63" y="146"/>
                    </a:lnTo>
                    <a:lnTo>
                      <a:pt x="69" y="146"/>
                    </a:lnTo>
                    <a:lnTo>
                      <a:pt x="73" y="146"/>
                    </a:lnTo>
                    <a:lnTo>
                      <a:pt x="80" y="149"/>
                    </a:lnTo>
                    <a:lnTo>
                      <a:pt x="85" y="152"/>
                    </a:lnTo>
                    <a:lnTo>
                      <a:pt x="90" y="152"/>
                    </a:lnTo>
                    <a:lnTo>
                      <a:pt x="93" y="152"/>
                    </a:lnTo>
                    <a:lnTo>
                      <a:pt x="97" y="152"/>
                    </a:lnTo>
                    <a:lnTo>
                      <a:pt x="103" y="152"/>
                    </a:lnTo>
                    <a:lnTo>
                      <a:pt x="107" y="151"/>
                    </a:lnTo>
                    <a:lnTo>
                      <a:pt x="110" y="151"/>
                    </a:lnTo>
                    <a:lnTo>
                      <a:pt x="114" y="149"/>
                    </a:lnTo>
                    <a:lnTo>
                      <a:pt x="119" y="147"/>
                    </a:lnTo>
                    <a:lnTo>
                      <a:pt x="124" y="144"/>
                    </a:lnTo>
                    <a:lnTo>
                      <a:pt x="127" y="142"/>
                    </a:lnTo>
                    <a:lnTo>
                      <a:pt x="131" y="139"/>
                    </a:lnTo>
                    <a:lnTo>
                      <a:pt x="132" y="135"/>
                    </a:lnTo>
                    <a:lnTo>
                      <a:pt x="134" y="132"/>
                    </a:lnTo>
                    <a:lnTo>
                      <a:pt x="139" y="129"/>
                    </a:lnTo>
                    <a:lnTo>
                      <a:pt x="144" y="125"/>
                    </a:lnTo>
                    <a:lnTo>
                      <a:pt x="148" y="123"/>
                    </a:lnTo>
                    <a:lnTo>
                      <a:pt x="151" y="120"/>
                    </a:lnTo>
                    <a:lnTo>
                      <a:pt x="156" y="120"/>
                    </a:lnTo>
                    <a:lnTo>
                      <a:pt x="161" y="118"/>
                    </a:lnTo>
                    <a:lnTo>
                      <a:pt x="165" y="118"/>
                    </a:lnTo>
                    <a:lnTo>
                      <a:pt x="168" y="120"/>
                    </a:lnTo>
                    <a:lnTo>
                      <a:pt x="171" y="118"/>
                    </a:lnTo>
                    <a:lnTo>
                      <a:pt x="175" y="118"/>
                    </a:lnTo>
                    <a:lnTo>
                      <a:pt x="178" y="115"/>
                    </a:lnTo>
                    <a:lnTo>
                      <a:pt x="183" y="112"/>
                    </a:lnTo>
                    <a:lnTo>
                      <a:pt x="188" y="105"/>
                    </a:lnTo>
                    <a:lnTo>
                      <a:pt x="194" y="98"/>
                    </a:lnTo>
                    <a:lnTo>
                      <a:pt x="195" y="95"/>
                    </a:lnTo>
                    <a:lnTo>
                      <a:pt x="199" y="88"/>
                    </a:lnTo>
                    <a:lnTo>
                      <a:pt x="200" y="81"/>
                    </a:lnTo>
                    <a:lnTo>
                      <a:pt x="204" y="81"/>
                    </a:lnTo>
                    <a:lnTo>
                      <a:pt x="207" y="78"/>
                    </a:lnTo>
                    <a:lnTo>
                      <a:pt x="212" y="74"/>
                    </a:lnTo>
                    <a:lnTo>
                      <a:pt x="216" y="71"/>
                    </a:lnTo>
                    <a:lnTo>
                      <a:pt x="219" y="67"/>
                    </a:lnTo>
                    <a:lnTo>
                      <a:pt x="223" y="62"/>
                    </a:lnTo>
                    <a:lnTo>
                      <a:pt x="229" y="56"/>
                    </a:lnTo>
                    <a:lnTo>
                      <a:pt x="233" y="49"/>
                    </a:lnTo>
                    <a:lnTo>
                      <a:pt x="238" y="45"/>
                    </a:lnTo>
                    <a:lnTo>
                      <a:pt x="243" y="42"/>
                    </a:lnTo>
                    <a:lnTo>
                      <a:pt x="246" y="45"/>
                    </a:lnTo>
                    <a:lnTo>
                      <a:pt x="253" y="45"/>
                    </a:lnTo>
                    <a:lnTo>
                      <a:pt x="260" y="44"/>
                    </a:lnTo>
                    <a:lnTo>
                      <a:pt x="263" y="39"/>
                    </a:lnTo>
                    <a:lnTo>
                      <a:pt x="263" y="35"/>
                    </a:lnTo>
                    <a:lnTo>
                      <a:pt x="272" y="35"/>
                    </a:lnTo>
                    <a:lnTo>
                      <a:pt x="277" y="30"/>
                    </a:lnTo>
                    <a:lnTo>
                      <a:pt x="274" y="25"/>
                    </a:lnTo>
                    <a:lnTo>
                      <a:pt x="274" y="22"/>
                    </a:lnTo>
                    <a:lnTo>
                      <a:pt x="275" y="18"/>
                    </a:lnTo>
                    <a:lnTo>
                      <a:pt x="277" y="10"/>
                    </a:lnTo>
                    <a:lnTo>
                      <a:pt x="272" y="8"/>
                    </a:lnTo>
                    <a:lnTo>
                      <a:pt x="268" y="6"/>
                    </a:lnTo>
                    <a:lnTo>
                      <a:pt x="272" y="3"/>
                    </a:lnTo>
                    <a:lnTo>
                      <a:pt x="275" y="6"/>
                    </a:lnTo>
                    <a:lnTo>
                      <a:pt x="279" y="3"/>
                    </a:lnTo>
                    <a:lnTo>
                      <a:pt x="284" y="3"/>
                    </a:lnTo>
                    <a:lnTo>
                      <a:pt x="289" y="0"/>
                    </a:lnTo>
                    <a:lnTo>
                      <a:pt x="292" y="0"/>
                    </a:lnTo>
                    <a:lnTo>
                      <a:pt x="294" y="3"/>
                    </a:lnTo>
                    <a:lnTo>
                      <a:pt x="301" y="5"/>
                    </a:lnTo>
                    <a:lnTo>
                      <a:pt x="304" y="6"/>
                    </a:lnTo>
                    <a:lnTo>
                      <a:pt x="308" y="13"/>
                    </a:lnTo>
                    <a:lnTo>
                      <a:pt x="304" y="18"/>
                    </a:lnTo>
                    <a:lnTo>
                      <a:pt x="304" y="22"/>
                    </a:lnTo>
                    <a:lnTo>
                      <a:pt x="308" y="17"/>
                    </a:lnTo>
                    <a:lnTo>
                      <a:pt x="308" y="13"/>
                    </a:lnTo>
                    <a:lnTo>
                      <a:pt x="311" y="18"/>
                    </a:lnTo>
                    <a:lnTo>
                      <a:pt x="308" y="20"/>
                    </a:lnTo>
                    <a:lnTo>
                      <a:pt x="313" y="23"/>
                    </a:lnTo>
                    <a:lnTo>
                      <a:pt x="316" y="23"/>
                    </a:lnTo>
                    <a:lnTo>
                      <a:pt x="316" y="20"/>
                    </a:lnTo>
                    <a:lnTo>
                      <a:pt x="319" y="25"/>
                    </a:lnTo>
                    <a:lnTo>
                      <a:pt x="321" y="18"/>
                    </a:lnTo>
                    <a:lnTo>
                      <a:pt x="325" y="18"/>
                    </a:lnTo>
                    <a:lnTo>
                      <a:pt x="328" y="18"/>
                    </a:lnTo>
                    <a:lnTo>
                      <a:pt x="330" y="22"/>
                    </a:lnTo>
                    <a:lnTo>
                      <a:pt x="331" y="25"/>
                    </a:lnTo>
                    <a:lnTo>
                      <a:pt x="335" y="25"/>
                    </a:lnTo>
                    <a:lnTo>
                      <a:pt x="340" y="28"/>
                    </a:lnTo>
                    <a:lnTo>
                      <a:pt x="343" y="27"/>
                    </a:lnTo>
                    <a:lnTo>
                      <a:pt x="345" y="32"/>
                    </a:lnTo>
                    <a:lnTo>
                      <a:pt x="340" y="34"/>
                    </a:lnTo>
                    <a:lnTo>
                      <a:pt x="345" y="35"/>
                    </a:lnTo>
                    <a:lnTo>
                      <a:pt x="347" y="39"/>
                    </a:lnTo>
                    <a:lnTo>
                      <a:pt x="348" y="42"/>
                    </a:lnTo>
                    <a:lnTo>
                      <a:pt x="350" y="47"/>
                    </a:lnTo>
                    <a:lnTo>
                      <a:pt x="348" y="52"/>
                    </a:lnTo>
                    <a:lnTo>
                      <a:pt x="353" y="51"/>
                    </a:lnTo>
                    <a:lnTo>
                      <a:pt x="355" y="47"/>
                    </a:lnTo>
                    <a:lnTo>
                      <a:pt x="359" y="44"/>
                    </a:lnTo>
                    <a:lnTo>
                      <a:pt x="357" y="40"/>
                    </a:lnTo>
                    <a:lnTo>
                      <a:pt x="360" y="40"/>
                    </a:lnTo>
                    <a:lnTo>
                      <a:pt x="364" y="39"/>
                    </a:lnTo>
                    <a:lnTo>
                      <a:pt x="367" y="40"/>
                    </a:lnTo>
                    <a:lnTo>
                      <a:pt x="369" y="37"/>
                    </a:lnTo>
                    <a:lnTo>
                      <a:pt x="372" y="35"/>
                    </a:lnTo>
                    <a:lnTo>
                      <a:pt x="376" y="40"/>
                    </a:lnTo>
                    <a:lnTo>
                      <a:pt x="377" y="44"/>
                    </a:lnTo>
                    <a:lnTo>
                      <a:pt x="376" y="49"/>
                    </a:lnTo>
                    <a:lnTo>
                      <a:pt x="379" y="47"/>
                    </a:lnTo>
                    <a:lnTo>
                      <a:pt x="382" y="49"/>
                    </a:lnTo>
                    <a:lnTo>
                      <a:pt x="384" y="54"/>
                    </a:lnTo>
                    <a:lnTo>
                      <a:pt x="382" y="57"/>
                    </a:lnTo>
                    <a:lnTo>
                      <a:pt x="379" y="62"/>
                    </a:lnTo>
                    <a:lnTo>
                      <a:pt x="377" y="59"/>
                    </a:lnTo>
                    <a:lnTo>
                      <a:pt x="372" y="64"/>
                    </a:lnTo>
                    <a:lnTo>
                      <a:pt x="374" y="67"/>
                    </a:lnTo>
                    <a:lnTo>
                      <a:pt x="372" y="71"/>
                    </a:lnTo>
                    <a:lnTo>
                      <a:pt x="371" y="79"/>
                    </a:lnTo>
                    <a:lnTo>
                      <a:pt x="369" y="84"/>
                    </a:lnTo>
                    <a:lnTo>
                      <a:pt x="369" y="88"/>
                    </a:lnTo>
                    <a:lnTo>
                      <a:pt x="372" y="84"/>
                    </a:lnTo>
                    <a:lnTo>
                      <a:pt x="372" y="79"/>
                    </a:lnTo>
                    <a:lnTo>
                      <a:pt x="376" y="79"/>
                    </a:lnTo>
                    <a:lnTo>
                      <a:pt x="381" y="78"/>
                    </a:lnTo>
                    <a:close/>
                  </a:path>
                </a:pathLst>
              </a:custGeom>
              <a:solidFill>
                <a:srgbClr val="DFC7A6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1" name="Line 259">
                <a:extLst>
                  <a:ext uri="{FF2B5EF4-FFF2-40B4-BE49-F238E27FC236}">
                    <a16:creationId xmlns:a16="http://schemas.microsoft.com/office/drawing/2014/main" id="{59B1855A-8085-806B-0020-3B92A9C4BE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14775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2" name="Line 260">
                <a:extLst>
                  <a:ext uri="{FF2B5EF4-FFF2-40B4-BE49-F238E27FC236}">
                    <a16:creationId xmlns:a16="http://schemas.microsoft.com/office/drawing/2014/main" id="{E99DC74C-EAFC-ADF3-1701-9C396BD0D1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10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3" name="Line 261">
                <a:extLst>
                  <a:ext uri="{FF2B5EF4-FFF2-40B4-BE49-F238E27FC236}">
                    <a16:creationId xmlns:a16="http://schemas.microsoft.com/office/drawing/2014/main" id="{A6F1F1AA-794A-2809-F6A9-9BD0679C18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10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4" name="Line 262">
                <a:extLst>
                  <a:ext uri="{FF2B5EF4-FFF2-40B4-BE49-F238E27FC236}">
                    <a16:creationId xmlns:a16="http://schemas.microsoft.com/office/drawing/2014/main" id="{5BDFA6AC-E2E9-4DA9-E33C-33AE730E55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10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  <p:sp>
            <p:nvSpPr>
              <p:cNvPr id="2935" name="Line 263">
                <a:extLst>
                  <a:ext uri="{FF2B5EF4-FFF2-40B4-BE49-F238E27FC236}">
                    <a16:creationId xmlns:a16="http://schemas.microsoft.com/office/drawing/2014/main" id="{5C856600-2794-2498-FD1E-F4E68C045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6613" y="3910013"/>
                <a:ext cx="0" cy="0"/>
              </a:xfrm>
              <a:prstGeom prst="line">
                <a:avLst/>
              </a:prstGeom>
              <a:solidFill>
                <a:srgbClr val="9B0658"/>
              </a:solidFill>
              <a:ln w="4763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51451" tIns="25725" rIns="51451" bIns="2572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fr-FR" sz="1013" b="0" i="0" u="none" strike="noStrike" kern="0" cap="none" spc="0" normalizeH="0" baseline="0" noProof="0">
                  <a:ln>
                    <a:noFill/>
                  </a:ln>
                  <a:solidFill>
                    <a:srgbClr val="5D004A"/>
                  </a:solidFill>
                  <a:effectLst/>
                  <a:uLnTx/>
                  <a:uFillTx/>
                  <a:latin typeface="Century Gothic" panose="020F0302020204030204"/>
                  <a:cs typeface="Arial"/>
                  <a:sym typeface="Arial"/>
                </a:endParaRPr>
              </a:p>
            </p:txBody>
          </p:sp>
        </p:grpSp>
        <p:pic>
          <p:nvPicPr>
            <p:cNvPr id="2665" name="Immagine 2664">
              <a:extLst>
                <a:ext uri="{FF2B5EF4-FFF2-40B4-BE49-F238E27FC236}">
                  <a16:creationId xmlns:a16="http://schemas.microsoft.com/office/drawing/2014/main" id="{2C46B121-CD58-DC5C-B07F-8D0C60A48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971854" y="1216851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66" name="Immagine 2665">
              <a:extLst>
                <a:ext uri="{FF2B5EF4-FFF2-40B4-BE49-F238E27FC236}">
                  <a16:creationId xmlns:a16="http://schemas.microsoft.com/office/drawing/2014/main" id="{364B608E-D3ED-0745-2136-52D734894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32640" y="1212657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67" name="Immagine 2666">
              <a:extLst>
                <a:ext uri="{FF2B5EF4-FFF2-40B4-BE49-F238E27FC236}">
                  <a16:creationId xmlns:a16="http://schemas.microsoft.com/office/drawing/2014/main" id="{5298B958-4FDC-B1BC-DA17-14C4C719E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90551" y="1213874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68" name="Immagine 2667">
              <a:extLst>
                <a:ext uri="{FF2B5EF4-FFF2-40B4-BE49-F238E27FC236}">
                  <a16:creationId xmlns:a16="http://schemas.microsoft.com/office/drawing/2014/main" id="{20EEC5AC-40E3-830E-90EE-14CABFD73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69821" y="1469958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69" name="Immagine 2668">
              <a:extLst>
                <a:ext uri="{FF2B5EF4-FFF2-40B4-BE49-F238E27FC236}">
                  <a16:creationId xmlns:a16="http://schemas.microsoft.com/office/drawing/2014/main" id="{63125E74-36F8-5F0F-7754-ED2C670C8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84836" y="1047225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0" name="Immagine 2669">
              <a:extLst>
                <a:ext uri="{FF2B5EF4-FFF2-40B4-BE49-F238E27FC236}">
                  <a16:creationId xmlns:a16="http://schemas.microsoft.com/office/drawing/2014/main" id="{4A587FB1-E222-562C-43B1-62C3DE803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89065" y="1533702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1" name="Immagine 2670">
              <a:extLst>
                <a:ext uri="{FF2B5EF4-FFF2-40B4-BE49-F238E27FC236}">
                  <a16:creationId xmlns:a16="http://schemas.microsoft.com/office/drawing/2014/main" id="{30230A9C-BA2E-299C-8F66-84DCAF9A4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07537" y="1527698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2" name="Immagine 2671">
              <a:extLst>
                <a:ext uri="{FF2B5EF4-FFF2-40B4-BE49-F238E27FC236}">
                  <a16:creationId xmlns:a16="http://schemas.microsoft.com/office/drawing/2014/main" id="{E2DBC336-6986-486F-5DFA-FF90F0602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42298" y="1522818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3" name="Immagine 2672">
              <a:extLst>
                <a:ext uri="{FF2B5EF4-FFF2-40B4-BE49-F238E27FC236}">
                  <a16:creationId xmlns:a16="http://schemas.microsoft.com/office/drawing/2014/main" id="{96BCAD0E-10A2-FD2E-1FA6-250C664732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70663" y="1523650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4" name="Immagine 2673">
              <a:extLst>
                <a:ext uri="{FF2B5EF4-FFF2-40B4-BE49-F238E27FC236}">
                  <a16:creationId xmlns:a16="http://schemas.microsoft.com/office/drawing/2014/main" id="{14E6648A-D669-D2AF-5DDE-BEAB0B27D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10520" y="1523231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5" name="Immagine 2674">
              <a:extLst>
                <a:ext uri="{FF2B5EF4-FFF2-40B4-BE49-F238E27FC236}">
                  <a16:creationId xmlns:a16="http://schemas.microsoft.com/office/drawing/2014/main" id="{D9CD4564-A1CB-5924-111F-F9740F689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42764" y="1515078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6" name="Immagine 2675">
              <a:extLst>
                <a:ext uri="{FF2B5EF4-FFF2-40B4-BE49-F238E27FC236}">
                  <a16:creationId xmlns:a16="http://schemas.microsoft.com/office/drawing/2014/main" id="{5C5F3E01-3C07-C621-5A00-C72B4AE11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71129" y="1515910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7" name="Immagine 2676">
              <a:extLst>
                <a:ext uri="{FF2B5EF4-FFF2-40B4-BE49-F238E27FC236}">
                  <a16:creationId xmlns:a16="http://schemas.microsoft.com/office/drawing/2014/main" id="{F029FB57-CD2A-0773-76B0-84BEBC5FC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97993" y="1665673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8" name="Immagine 2677">
              <a:extLst>
                <a:ext uri="{FF2B5EF4-FFF2-40B4-BE49-F238E27FC236}">
                  <a16:creationId xmlns:a16="http://schemas.microsoft.com/office/drawing/2014/main" id="{6EBF2354-F94D-2844-ED4F-D3DA68362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21692" y="1593449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  <p:pic>
          <p:nvPicPr>
            <p:cNvPr id="2679" name="Immagine 2678">
              <a:extLst>
                <a:ext uri="{FF2B5EF4-FFF2-40B4-BE49-F238E27FC236}">
                  <a16:creationId xmlns:a16="http://schemas.microsoft.com/office/drawing/2014/main" id="{9ABCB5B6-E2D8-55CF-D96E-2377D24EF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53086" y="1851563"/>
              <a:ext cx="211690" cy="206521"/>
            </a:xfrm>
            <a:prstGeom prst="ellipse">
              <a:avLst/>
            </a:prstGeom>
            <a:ln>
              <a:solidFill>
                <a:srgbClr val="A41D67"/>
              </a:solidFill>
            </a:ln>
          </p:spPr>
        </p:pic>
      </p:grpSp>
      <p:grpSp>
        <p:nvGrpSpPr>
          <p:cNvPr id="2629" name="Gruppo 2628">
            <a:extLst>
              <a:ext uri="{FF2B5EF4-FFF2-40B4-BE49-F238E27FC236}">
                <a16:creationId xmlns:a16="http://schemas.microsoft.com/office/drawing/2014/main" id="{9FD19B9E-5C4F-9D6A-DA09-2C61CC9D0F47}"/>
              </a:ext>
            </a:extLst>
          </p:cNvPr>
          <p:cNvGrpSpPr/>
          <p:nvPr/>
        </p:nvGrpSpPr>
        <p:grpSpPr>
          <a:xfrm>
            <a:off x="3936759" y="1080790"/>
            <a:ext cx="2532239" cy="2490467"/>
            <a:chOff x="2553640" y="654839"/>
            <a:chExt cx="4500369" cy="4426132"/>
          </a:xfrm>
        </p:grpSpPr>
        <p:cxnSp>
          <p:nvCxnSpPr>
            <p:cNvPr id="2658" name="Connecteur droit 47">
              <a:extLst>
                <a:ext uri="{FF2B5EF4-FFF2-40B4-BE49-F238E27FC236}">
                  <a16:creationId xmlns:a16="http://schemas.microsoft.com/office/drawing/2014/main" id="{4E117385-C1D0-913D-49ED-226DA14E793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49476" y="2442074"/>
              <a:ext cx="2204533" cy="31084"/>
            </a:xfrm>
            <a:prstGeom prst="line">
              <a:avLst/>
            </a:prstGeom>
            <a:noFill/>
            <a:ln w="15875" cap="flat" cmpd="sng" algn="ctr">
              <a:solidFill>
                <a:srgbClr val="9B0658"/>
              </a:solidFill>
              <a:prstDash val="sysDot"/>
              <a:miter lim="800000"/>
            </a:ln>
            <a:effectLst/>
          </p:spPr>
        </p:cxnSp>
        <p:cxnSp>
          <p:nvCxnSpPr>
            <p:cNvPr id="2659" name="Connecteur droit 47">
              <a:extLst>
                <a:ext uri="{FF2B5EF4-FFF2-40B4-BE49-F238E27FC236}">
                  <a16:creationId xmlns:a16="http://schemas.microsoft.com/office/drawing/2014/main" id="{3F92D0BE-EEE4-DC2E-4B9D-D0ADDAB06236}"/>
                </a:ext>
              </a:extLst>
            </p:cNvPr>
            <p:cNvCxnSpPr>
              <a:cxnSpLocks/>
            </p:cNvCxnSpPr>
            <p:nvPr/>
          </p:nvCxnSpPr>
          <p:spPr>
            <a:xfrm>
              <a:off x="5306725" y="1509717"/>
              <a:ext cx="0" cy="714745"/>
            </a:xfrm>
            <a:prstGeom prst="line">
              <a:avLst/>
            </a:prstGeom>
            <a:noFill/>
            <a:ln w="15875" cap="flat" cmpd="sng" algn="ctr">
              <a:solidFill>
                <a:srgbClr val="F47575"/>
              </a:solidFill>
              <a:prstDash val="sysDot"/>
              <a:miter lim="800000"/>
            </a:ln>
            <a:effectLst/>
          </p:spPr>
        </p:cxnSp>
        <p:cxnSp>
          <p:nvCxnSpPr>
            <p:cNvPr id="2660" name="Connecteur droit 47">
              <a:extLst>
                <a:ext uri="{FF2B5EF4-FFF2-40B4-BE49-F238E27FC236}">
                  <a16:creationId xmlns:a16="http://schemas.microsoft.com/office/drawing/2014/main" id="{58E02E10-C97F-0FDF-6217-6C75D5B519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53640" y="1496960"/>
              <a:ext cx="2762895" cy="0"/>
            </a:xfrm>
            <a:prstGeom prst="line">
              <a:avLst/>
            </a:prstGeom>
            <a:noFill/>
            <a:ln w="15875" cap="flat" cmpd="sng" algn="ctr">
              <a:solidFill>
                <a:srgbClr val="F47575"/>
              </a:solidFill>
              <a:prstDash val="sysDot"/>
              <a:miter lim="800000"/>
            </a:ln>
            <a:effectLst/>
          </p:spPr>
        </p:cxnSp>
        <p:cxnSp>
          <p:nvCxnSpPr>
            <p:cNvPr id="2661" name="Connecteur droit 47">
              <a:extLst>
                <a:ext uri="{FF2B5EF4-FFF2-40B4-BE49-F238E27FC236}">
                  <a16:creationId xmlns:a16="http://schemas.microsoft.com/office/drawing/2014/main" id="{4A197ED5-DAAC-7105-4B61-E4FA29EBA4D9}"/>
                </a:ext>
              </a:extLst>
            </p:cNvPr>
            <p:cNvCxnSpPr>
              <a:cxnSpLocks/>
            </p:cNvCxnSpPr>
            <p:nvPr/>
          </p:nvCxnSpPr>
          <p:spPr>
            <a:xfrm>
              <a:off x="7039816" y="654839"/>
              <a:ext cx="5316" cy="1800000"/>
            </a:xfrm>
            <a:prstGeom prst="line">
              <a:avLst/>
            </a:prstGeom>
            <a:noFill/>
            <a:ln w="15875" cap="flat" cmpd="sng" algn="ctr">
              <a:solidFill>
                <a:srgbClr val="9B0658"/>
              </a:solidFill>
              <a:prstDash val="sysDot"/>
              <a:miter lim="800000"/>
            </a:ln>
            <a:effectLst/>
          </p:spPr>
        </p:cxnSp>
        <p:cxnSp>
          <p:nvCxnSpPr>
            <p:cNvPr id="2662" name="Connecteur droit 47">
              <a:extLst>
                <a:ext uri="{FF2B5EF4-FFF2-40B4-BE49-F238E27FC236}">
                  <a16:creationId xmlns:a16="http://schemas.microsoft.com/office/drawing/2014/main" id="{0B76813C-F2EE-9D08-962C-5223EDDE2AD5}"/>
                </a:ext>
              </a:extLst>
            </p:cNvPr>
            <p:cNvCxnSpPr>
              <a:cxnSpLocks/>
            </p:cNvCxnSpPr>
            <p:nvPr/>
          </p:nvCxnSpPr>
          <p:spPr>
            <a:xfrm>
              <a:off x="4947668" y="2810724"/>
              <a:ext cx="14723" cy="2268000"/>
            </a:xfrm>
            <a:prstGeom prst="line">
              <a:avLst/>
            </a:prstGeom>
            <a:noFill/>
            <a:ln w="15875" cap="flat" cmpd="sng" algn="ctr">
              <a:solidFill>
                <a:srgbClr val="AC5D5B"/>
              </a:solidFill>
              <a:prstDash val="sysDot"/>
              <a:miter lim="800000"/>
            </a:ln>
            <a:effectLst/>
          </p:spPr>
        </p:cxnSp>
        <p:cxnSp>
          <p:nvCxnSpPr>
            <p:cNvPr id="2663" name="Connecteur droit 47">
              <a:extLst>
                <a:ext uri="{FF2B5EF4-FFF2-40B4-BE49-F238E27FC236}">
                  <a16:creationId xmlns:a16="http://schemas.microsoft.com/office/drawing/2014/main" id="{2300C5F9-41F2-1249-CDA9-7C7823CB8F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34906" y="5080971"/>
              <a:ext cx="2116449" cy="0"/>
            </a:xfrm>
            <a:prstGeom prst="line">
              <a:avLst/>
            </a:prstGeom>
            <a:noFill/>
            <a:ln w="15875" cap="flat" cmpd="sng" algn="ctr">
              <a:solidFill>
                <a:srgbClr val="AC5D5B"/>
              </a:solidFill>
              <a:prstDash val="sysDot"/>
              <a:miter lim="800000"/>
            </a:ln>
            <a:effectLst/>
          </p:spPr>
        </p:cxnSp>
      </p:grpSp>
      <p:sp>
        <p:nvSpPr>
          <p:cNvPr id="2630" name="Rounded Rectangle 17">
            <a:extLst>
              <a:ext uri="{FF2B5EF4-FFF2-40B4-BE49-F238E27FC236}">
                <a16:creationId xmlns:a16="http://schemas.microsoft.com/office/drawing/2014/main" id="{0431216E-69CE-C964-27F0-8F59F47C43C2}"/>
              </a:ext>
            </a:extLst>
          </p:cNvPr>
          <p:cNvSpPr>
            <a:spLocks/>
          </p:cNvSpPr>
          <p:nvPr/>
        </p:nvSpPr>
        <p:spPr>
          <a:xfrm>
            <a:off x="3061383" y="3389516"/>
            <a:ext cx="2482840" cy="271669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36830" rIns="37419" bIns="187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9047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 typeface="Arial"/>
              <a:buNone/>
              <a:tabLst>
                <a:tab pos="233870" algn="l"/>
                <a:tab pos="467739" algn="l"/>
                <a:tab pos="701609" algn="l"/>
                <a:tab pos="935479" algn="l"/>
              </a:tabLst>
              <a:defRPr/>
            </a:pPr>
            <a:r>
              <a:rPr kumimoji="0" lang="en-US" sz="563" b="1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LIGURIA</a:t>
            </a:r>
            <a:r>
              <a:rPr kumimoji="0" lang="en-US" sz="675" b="1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:</a:t>
            </a:r>
          </a:p>
          <a:p>
            <a:pPr marL="0" marR="0" lvl="0" indent="0" algn="l" defTabSz="49047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 typeface="Arial"/>
              <a:buNone/>
              <a:tabLst>
                <a:tab pos="233870" algn="l"/>
                <a:tab pos="467739" algn="l"/>
                <a:tab pos="701609" algn="l"/>
                <a:tab pos="935479" algn="l"/>
              </a:tabLst>
              <a:defRPr/>
            </a:pPr>
            <a:r>
              <a:rPr kumimoji="0" lang="en-US" sz="563" b="0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1 RSA, 100 </a:t>
            </a:r>
            <a:r>
              <a:rPr kumimoji="0" lang="en-US" sz="563" b="0" i="0" u="none" strike="noStrike" kern="0" cap="none" spc="0" normalizeH="0" baseline="0" noProof="0" dirty="0" err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posti</a:t>
            </a:r>
            <a:r>
              <a:rPr kumimoji="0" lang="en-US" sz="563" b="0" i="0" u="none" strike="noStrike" kern="0" cap="none" spc="0" normalizeH="0" baseline="0" noProof="0" dirty="0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563" b="0" i="0" u="none" strike="noStrike" kern="0" cap="none" spc="0" normalizeH="0" baseline="0" noProof="0" dirty="0" err="1">
                <a:ln>
                  <a:noFill/>
                </a:ln>
                <a:solidFill>
                  <a:srgbClr val="AC5D5B"/>
                </a:solidFill>
                <a:effectLst/>
                <a:uLnTx/>
                <a:uFillTx/>
                <a:latin typeface="Century Gothic" panose="020F0302020204030204"/>
                <a:cs typeface="Times New Roman" panose="02020603050405020304" pitchFamily="18" charset="0"/>
                <a:sym typeface="Arial"/>
              </a:rPr>
              <a:t>letto</a:t>
            </a:r>
            <a:endParaRPr kumimoji="0" lang="en-US" sz="563" b="0" i="0" u="none" strike="noStrike" kern="0" cap="none" spc="0" normalizeH="0" baseline="0" noProof="0" dirty="0">
              <a:ln>
                <a:noFill/>
              </a:ln>
              <a:solidFill>
                <a:srgbClr val="AC5D5B"/>
              </a:solidFill>
              <a:effectLst/>
              <a:uLnTx/>
              <a:uFillTx/>
              <a:latin typeface="Century Gothic" panose="020F0302020204030204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2631" name="Ovale 2630">
            <a:extLst>
              <a:ext uri="{FF2B5EF4-FFF2-40B4-BE49-F238E27FC236}">
                <a16:creationId xmlns:a16="http://schemas.microsoft.com/office/drawing/2014/main" id="{571F69FB-EE3B-D440-BF96-1073BAFED064}"/>
              </a:ext>
            </a:extLst>
          </p:cNvPr>
          <p:cNvSpPr/>
          <p:nvPr/>
        </p:nvSpPr>
        <p:spPr>
          <a:xfrm>
            <a:off x="7062915" y="1241719"/>
            <a:ext cx="141794" cy="141794"/>
          </a:xfrm>
          <a:prstGeom prst="ellipse">
            <a:avLst/>
          </a:prstGeom>
          <a:solidFill>
            <a:srgbClr val="9B0658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7</a:t>
            </a:r>
          </a:p>
        </p:txBody>
      </p:sp>
      <p:sp>
        <p:nvSpPr>
          <p:cNvPr id="2632" name="Ovale 2631">
            <a:extLst>
              <a:ext uri="{FF2B5EF4-FFF2-40B4-BE49-F238E27FC236}">
                <a16:creationId xmlns:a16="http://schemas.microsoft.com/office/drawing/2014/main" id="{6A3880CF-6FD3-6396-5049-BE56C7F3C3B3}"/>
              </a:ext>
            </a:extLst>
          </p:cNvPr>
          <p:cNvSpPr/>
          <p:nvPr/>
        </p:nvSpPr>
        <p:spPr>
          <a:xfrm>
            <a:off x="7065878" y="1517852"/>
            <a:ext cx="141794" cy="141794"/>
          </a:xfrm>
          <a:prstGeom prst="ellipse">
            <a:avLst/>
          </a:prstGeom>
          <a:solidFill>
            <a:srgbClr val="9B0658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8</a:t>
            </a:r>
          </a:p>
        </p:txBody>
      </p:sp>
      <p:sp>
        <p:nvSpPr>
          <p:cNvPr id="2633" name="Ovale 2632">
            <a:extLst>
              <a:ext uri="{FF2B5EF4-FFF2-40B4-BE49-F238E27FC236}">
                <a16:creationId xmlns:a16="http://schemas.microsoft.com/office/drawing/2014/main" id="{08A74D7F-D688-2503-E69E-C34F33B5F725}"/>
              </a:ext>
            </a:extLst>
          </p:cNvPr>
          <p:cNvSpPr/>
          <p:nvPr/>
        </p:nvSpPr>
        <p:spPr>
          <a:xfrm>
            <a:off x="7062915" y="1802067"/>
            <a:ext cx="141794" cy="141794"/>
          </a:xfrm>
          <a:prstGeom prst="ellipse">
            <a:avLst/>
          </a:prstGeom>
          <a:solidFill>
            <a:srgbClr val="9B0658"/>
          </a:solidFill>
          <a:ln w="12700">
            <a:solidFill>
              <a:sysClr val="window" lastClr="FFFFFF"/>
            </a:solidFill>
          </a:ln>
        </p:spPr>
        <p:txBody>
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39497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7F7EB6">
                  <a:lumMod val="75000"/>
                </a:srgbClr>
              </a:buClr>
              <a:buSzPct val="100000"/>
              <a:buFont typeface="Arial"/>
              <a:buNone/>
              <a:tabLst>
                <a:tab pos="257244" algn="l"/>
                <a:tab pos="514487" algn="l"/>
                <a:tab pos="771731" algn="l"/>
                <a:tab pos="1028974" algn="l"/>
              </a:tabLst>
              <a:defRPr/>
            </a:pPr>
            <a:r>
              <a: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9</a:t>
            </a:r>
          </a:p>
        </p:txBody>
      </p:sp>
      <p:grpSp>
        <p:nvGrpSpPr>
          <p:cNvPr id="2634" name="Gruppo 2633">
            <a:extLst>
              <a:ext uri="{FF2B5EF4-FFF2-40B4-BE49-F238E27FC236}">
                <a16:creationId xmlns:a16="http://schemas.microsoft.com/office/drawing/2014/main" id="{B2BED1D9-7B53-057D-8A24-CC5AF22128C9}"/>
              </a:ext>
            </a:extLst>
          </p:cNvPr>
          <p:cNvGrpSpPr/>
          <p:nvPr/>
        </p:nvGrpSpPr>
        <p:grpSpPr>
          <a:xfrm>
            <a:off x="7012844" y="2088578"/>
            <a:ext cx="247129" cy="154658"/>
            <a:chOff x="7887763" y="2732780"/>
            <a:chExt cx="439206" cy="274862"/>
          </a:xfrm>
        </p:grpSpPr>
        <p:sp>
          <p:nvSpPr>
            <p:cNvPr id="2656" name="Ovale 2655">
              <a:extLst>
                <a:ext uri="{FF2B5EF4-FFF2-40B4-BE49-F238E27FC236}">
                  <a16:creationId xmlns:a16="http://schemas.microsoft.com/office/drawing/2014/main" id="{E821603A-D525-F39E-6FC4-936E633EFD3A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57" name="CasellaDiTesto 2656">
              <a:extLst>
                <a:ext uri="{FF2B5EF4-FFF2-40B4-BE49-F238E27FC236}">
                  <a16:creationId xmlns:a16="http://schemas.microsoft.com/office/drawing/2014/main" id="{DC7EF529-1DBA-854F-BCC6-CCC7F792FF6F}"/>
                </a:ext>
              </a:extLst>
            </p:cNvPr>
            <p:cNvSpPr txBox="1"/>
            <p:nvPr/>
          </p:nvSpPr>
          <p:spPr>
            <a:xfrm>
              <a:off x="7887763" y="2732780"/>
              <a:ext cx="439206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0</a:t>
              </a:r>
            </a:p>
          </p:txBody>
        </p:sp>
      </p:grpSp>
      <p:grpSp>
        <p:nvGrpSpPr>
          <p:cNvPr id="2635" name="Gruppo 2634">
            <a:extLst>
              <a:ext uri="{FF2B5EF4-FFF2-40B4-BE49-F238E27FC236}">
                <a16:creationId xmlns:a16="http://schemas.microsoft.com/office/drawing/2014/main" id="{31A7A531-58D1-0F62-03B1-C20535EFB134}"/>
              </a:ext>
            </a:extLst>
          </p:cNvPr>
          <p:cNvGrpSpPr/>
          <p:nvPr/>
        </p:nvGrpSpPr>
        <p:grpSpPr>
          <a:xfrm>
            <a:off x="7013358" y="2369061"/>
            <a:ext cx="247129" cy="154658"/>
            <a:chOff x="7888676" y="2730352"/>
            <a:chExt cx="439206" cy="274862"/>
          </a:xfrm>
        </p:grpSpPr>
        <p:sp>
          <p:nvSpPr>
            <p:cNvPr id="2654" name="Ovale 2653">
              <a:extLst>
                <a:ext uri="{FF2B5EF4-FFF2-40B4-BE49-F238E27FC236}">
                  <a16:creationId xmlns:a16="http://schemas.microsoft.com/office/drawing/2014/main" id="{24F5F2DA-5520-5A91-B2E7-358AD41D64F7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55" name="CasellaDiTesto 2654">
              <a:extLst>
                <a:ext uri="{FF2B5EF4-FFF2-40B4-BE49-F238E27FC236}">
                  <a16:creationId xmlns:a16="http://schemas.microsoft.com/office/drawing/2014/main" id="{91860FF2-B245-26CD-BF55-0099CCAC9631}"/>
                </a:ext>
              </a:extLst>
            </p:cNvPr>
            <p:cNvSpPr txBox="1"/>
            <p:nvPr/>
          </p:nvSpPr>
          <p:spPr>
            <a:xfrm>
              <a:off x="7888676" y="2730352"/>
              <a:ext cx="439206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1</a:t>
              </a:r>
            </a:p>
          </p:txBody>
        </p:sp>
      </p:grpSp>
      <p:grpSp>
        <p:nvGrpSpPr>
          <p:cNvPr id="2636" name="Gruppo 2635">
            <a:extLst>
              <a:ext uri="{FF2B5EF4-FFF2-40B4-BE49-F238E27FC236}">
                <a16:creationId xmlns:a16="http://schemas.microsoft.com/office/drawing/2014/main" id="{6EB870A8-58CE-8450-976E-5C1CFF44265C}"/>
              </a:ext>
            </a:extLst>
          </p:cNvPr>
          <p:cNvGrpSpPr/>
          <p:nvPr/>
        </p:nvGrpSpPr>
        <p:grpSpPr>
          <a:xfrm>
            <a:off x="7004855" y="2668951"/>
            <a:ext cx="270687" cy="158220"/>
            <a:chOff x="7865334" y="2734072"/>
            <a:chExt cx="481074" cy="281192"/>
          </a:xfrm>
        </p:grpSpPr>
        <p:sp>
          <p:nvSpPr>
            <p:cNvPr id="2652" name="Ovale 2651">
              <a:extLst>
                <a:ext uri="{FF2B5EF4-FFF2-40B4-BE49-F238E27FC236}">
                  <a16:creationId xmlns:a16="http://schemas.microsoft.com/office/drawing/2014/main" id="{8CDF6C14-498F-3F42-9485-F5B81E31E6C8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53" name="CasellaDiTesto 2652">
              <a:extLst>
                <a:ext uri="{FF2B5EF4-FFF2-40B4-BE49-F238E27FC236}">
                  <a16:creationId xmlns:a16="http://schemas.microsoft.com/office/drawing/2014/main" id="{1B7CC63A-9369-6AA8-A612-755A7161144B}"/>
                </a:ext>
              </a:extLst>
            </p:cNvPr>
            <p:cNvSpPr txBox="1"/>
            <p:nvPr/>
          </p:nvSpPr>
          <p:spPr>
            <a:xfrm>
              <a:off x="7865334" y="2740402"/>
              <a:ext cx="481074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2</a:t>
              </a:r>
            </a:p>
          </p:txBody>
        </p:sp>
      </p:grpSp>
      <p:grpSp>
        <p:nvGrpSpPr>
          <p:cNvPr id="2637" name="Gruppo 2636">
            <a:extLst>
              <a:ext uri="{FF2B5EF4-FFF2-40B4-BE49-F238E27FC236}">
                <a16:creationId xmlns:a16="http://schemas.microsoft.com/office/drawing/2014/main" id="{CDCDC856-494D-395B-3B80-CB47F1354603}"/>
              </a:ext>
            </a:extLst>
          </p:cNvPr>
          <p:cNvGrpSpPr/>
          <p:nvPr/>
        </p:nvGrpSpPr>
        <p:grpSpPr>
          <a:xfrm>
            <a:off x="7017824" y="2954421"/>
            <a:ext cx="247986" cy="154658"/>
            <a:chOff x="7887645" y="2729828"/>
            <a:chExt cx="440729" cy="274862"/>
          </a:xfrm>
        </p:grpSpPr>
        <p:sp>
          <p:nvSpPr>
            <p:cNvPr id="2650" name="Ovale 2649">
              <a:extLst>
                <a:ext uri="{FF2B5EF4-FFF2-40B4-BE49-F238E27FC236}">
                  <a16:creationId xmlns:a16="http://schemas.microsoft.com/office/drawing/2014/main" id="{7BC323CF-C984-2BEF-AD75-30096575ABDA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51" name="CasellaDiTesto 2650">
              <a:extLst>
                <a:ext uri="{FF2B5EF4-FFF2-40B4-BE49-F238E27FC236}">
                  <a16:creationId xmlns:a16="http://schemas.microsoft.com/office/drawing/2014/main" id="{F0660AE5-20A1-254C-E002-BCC573ECC7AE}"/>
                </a:ext>
              </a:extLst>
            </p:cNvPr>
            <p:cNvSpPr txBox="1"/>
            <p:nvPr/>
          </p:nvSpPr>
          <p:spPr>
            <a:xfrm>
              <a:off x="7887645" y="2729828"/>
              <a:ext cx="440729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3</a:t>
              </a:r>
            </a:p>
          </p:txBody>
        </p:sp>
      </p:grpSp>
      <p:grpSp>
        <p:nvGrpSpPr>
          <p:cNvPr id="2638" name="Gruppo 2637">
            <a:extLst>
              <a:ext uri="{FF2B5EF4-FFF2-40B4-BE49-F238E27FC236}">
                <a16:creationId xmlns:a16="http://schemas.microsoft.com/office/drawing/2014/main" id="{0DD616C7-0C1D-2407-1111-1B6121A274C7}"/>
              </a:ext>
            </a:extLst>
          </p:cNvPr>
          <p:cNvGrpSpPr/>
          <p:nvPr/>
        </p:nvGrpSpPr>
        <p:grpSpPr>
          <a:xfrm>
            <a:off x="7014740" y="3231611"/>
            <a:ext cx="247986" cy="154658"/>
            <a:chOff x="7882902" y="2729894"/>
            <a:chExt cx="440729" cy="274862"/>
          </a:xfrm>
        </p:grpSpPr>
        <p:sp>
          <p:nvSpPr>
            <p:cNvPr id="2648" name="Ovale 2647">
              <a:extLst>
                <a:ext uri="{FF2B5EF4-FFF2-40B4-BE49-F238E27FC236}">
                  <a16:creationId xmlns:a16="http://schemas.microsoft.com/office/drawing/2014/main" id="{E15C7FFA-F9B9-E0C3-6C8B-57C09F636C4D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49" name="CasellaDiTesto 2648">
              <a:extLst>
                <a:ext uri="{FF2B5EF4-FFF2-40B4-BE49-F238E27FC236}">
                  <a16:creationId xmlns:a16="http://schemas.microsoft.com/office/drawing/2014/main" id="{EDB95961-4602-83EB-7454-F31A3FE63F8C}"/>
                </a:ext>
              </a:extLst>
            </p:cNvPr>
            <p:cNvSpPr txBox="1"/>
            <p:nvPr/>
          </p:nvSpPr>
          <p:spPr>
            <a:xfrm>
              <a:off x="7882902" y="2729894"/>
              <a:ext cx="440729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4</a:t>
              </a:r>
            </a:p>
          </p:txBody>
        </p:sp>
      </p:grpSp>
      <p:grpSp>
        <p:nvGrpSpPr>
          <p:cNvPr id="2639" name="Gruppo 2638">
            <a:extLst>
              <a:ext uri="{FF2B5EF4-FFF2-40B4-BE49-F238E27FC236}">
                <a16:creationId xmlns:a16="http://schemas.microsoft.com/office/drawing/2014/main" id="{81313237-65DA-353D-85F1-A36B5984F5C1}"/>
              </a:ext>
            </a:extLst>
          </p:cNvPr>
          <p:cNvGrpSpPr/>
          <p:nvPr/>
        </p:nvGrpSpPr>
        <p:grpSpPr>
          <a:xfrm>
            <a:off x="7014740" y="3517140"/>
            <a:ext cx="247986" cy="154658"/>
            <a:chOff x="7882902" y="2733798"/>
            <a:chExt cx="440729" cy="274862"/>
          </a:xfrm>
        </p:grpSpPr>
        <p:sp>
          <p:nvSpPr>
            <p:cNvPr id="2646" name="Ovale 2645">
              <a:extLst>
                <a:ext uri="{FF2B5EF4-FFF2-40B4-BE49-F238E27FC236}">
                  <a16:creationId xmlns:a16="http://schemas.microsoft.com/office/drawing/2014/main" id="{E4FBDEE4-871D-AAD6-C84D-DEA15477CEFB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47" name="CasellaDiTesto 2646">
              <a:extLst>
                <a:ext uri="{FF2B5EF4-FFF2-40B4-BE49-F238E27FC236}">
                  <a16:creationId xmlns:a16="http://schemas.microsoft.com/office/drawing/2014/main" id="{F55237EC-726D-3521-73B3-F6AEEF73918B}"/>
                </a:ext>
              </a:extLst>
            </p:cNvPr>
            <p:cNvSpPr txBox="1"/>
            <p:nvPr/>
          </p:nvSpPr>
          <p:spPr>
            <a:xfrm>
              <a:off x="7882902" y="2733798"/>
              <a:ext cx="440729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5</a:t>
              </a:r>
            </a:p>
          </p:txBody>
        </p:sp>
      </p:grpSp>
      <p:grpSp>
        <p:nvGrpSpPr>
          <p:cNvPr id="2640" name="Gruppo 2639">
            <a:extLst>
              <a:ext uri="{FF2B5EF4-FFF2-40B4-BE49-F238E27FC236}">
                <a16:creationId xmlns:a16="http://schemas.microsoft.com/office/drawing/2014/main" id="{354D0726-579B-8F88-7959-CB9367176E7E}"/>
              </a:ext>
            </a:extLst>
          </p:cNvPr>
          <p:cNvGrpSpPr/>
          <p:nvPr/>
        </p:nvGrpSpPr>
        <p:grpSpPr>
          <a:xfrm>
            <a:off x="7018834" y="3806708"/>
            <a:ext cx="247986" cy="154658"/>
            <a:chOff x="7882953" y="2729794"/>
            <a:chExt cx="440729" cy="274862"/>
          </a:xfrm>
        </p:grpSpPr>
        <p:sp>
          <p:nvSpPr>
            <p:cNvPr id="2644" name="Ovale 2643">
              <a:extLst>
                <a:ext uri="{FF2B5EF4-FFF2-40B4-BE49-F238E27FC236}">
                  <a16:creationId xmlns:a16="http://schemas.microsoft.com/office/drawing/2014/main" id="{D9EDD472-A8F9-8AEA-F685-2BACD5F035D2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45" name="CasellaDiTesto 2644">
              <a:extLst>
                <a:ext uri="{FF2B5EF4-FFF2-40B4-BE49-F238E27FC236}">
                  <a16:creationId xmlns:a16="http://schemas.microsoft.com/office/drawing/2014/main" id="{B0BDE364-A2AA-7542-29E5-86870DD26B86}"/>
                </a:ext>
              </a:extLst>
            </p:cNvPr>
            <p:cNvSpPr txBox="1"/>
            <p:nvPr/>
          </p:nvSpPr>
          <p:spPr>
            <a:xfrm>
              <a:off x="7882953" y="2729794"/>
              <a:ext cx="440729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6</a:t>
              </a:r>
            </a:p>
          </p:txBody>
        </p:sp>
      </p:grpSp>
      <p:grpSp>
        <p:nvGrpSpPr>
          <p:cNvPr id="2641" name="Gruppo 2640">
            <a:extLst>
              <a:ext uri="{FF2B5EF4-FFF2-40B4-BE49-F238E27FC236}">
                <a16:creationId xmlns:a16="http://schemas.microsoft.com/office/drawing/2014/main" id="{38E5F86B-E3C7-08A3-5220-3BB4AC44931D}"/>
              </a:ext>
            </a:extLst>
          </p:cNvPr>
          <p:cNvGrpSpPr/>
          <p:nvPr/>
        </p:nvGrpSpPr>
        <p:grpSpPr>
          <a:xfrm>
            <a:off x="7004855" y="4089599"/>
            <a:ext cx="273925" cy="154658"/>
            <a:chOff x="7865329" y="2731680"/>
            <a:chExt cx="486829" cy="274862"/>
          </a:xfrm>
        </p:grpSpPr>
        <p:sp>
          <p:nvSpPr>
            <p:cNvPr id="2642" name="Ovale 2641">
              <a:extLst>
                <a:ext uri="{FF2B5EF4-FFF2-40B4-BE49-F238E27FC236}">
                  <a16:creationId xmlns:a16="http://schemas.microsoft.com/office/drawing/2014/main" id="{44887262-37A0-F355-B473-EF386B55C036}"/>
                </a:ext>
              </a:extLst>
            </p:cNvPr>
            <p:cNvSpPr/>
            <p:nvPr/>
          </p:nvSpPr>
          <p:spPr>
            <a:xfrm>
              <a:off x="7975599" y="2734072"/>
              <a:ext cx="252000" cy="252000"/>
            </a:xfrm>
            <a:prstGeom prst="ellipse">
              <a:avLst/>
            </a:prstGeom>
            <a:solidFill>
              <a:srgbClr val="9B0658"/>
            </a:solidFill>
            <a:ln w="12700">
              <a:solidFill>
                <a:sysClr val="window" lastClr="FFFFFF"/>
              </a:solidFill>
            </a:ln>
          </p:spPr>
          <p:txBody>
            <a:bodyPr rot="0" spcFirstLastPara="0" vertOverflow="overflow" horzOverflow="overflow" vert="horz" wrap="square" lIns="41161" tIns="20580" rIns="41161" bIns="20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endParaRPr kumimoji="0" lang="it-IT" sz="4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643" name="CasellaDiTesto 2642">
              <a:extLst>
                <a:ext uri="{FF2B5EF4-FFF2-40B4-BE49-F238E27FC236}">
                  <a16:creationId xmlns:a16="http://schemas.microsoft.com/office/drawing/2014/main" id="{134719E5-E848-D612-4762-B1794E1F260D}"/>
                </a:ext>
              </a:extLst>
            </p:cNvPr>
            <p:cNvSpPr txBox="1"/>
            <p:nvPr/>
          </p:nvSpPr>
          <p:spPr>
            <a:xfrm>
              <a:off x="7865329" y="2731680"/>
              <a:ext cx="486829" cy="274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39497" rtl="0" eaLnBrk="0" fontAlgn="base" latinLnBrk="0" hangingPunct="0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7F7EB6">
                    <a:lumMod val="75000"/>
                  </a:srgbClr>
                </a:buClr>
                <a:buSzPct val="100000"/>
                <a:buFont typeface="Arial"/>
                <a:buNone/>
                <a:tabLst>
                  <a:tab pos="257244" algn="l"/>
                  <a:tab pos="514487" algn="l"/>
                  <a:tab pos="771731" algn="l"/>
                  <a:tab pos="1028974" algn="l"/>
                </a:tabLst>
                <a:defRPr/>
              </a:pPr>
              <a:r>
                <a:rPr kumimoji="0" lang="it-IT" sz="4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/>
                  <a:sym typeface="Arial"/>
                </a:rPr>
                <a:t>17</a:t>
              </a:r>
            </a:p>
          </p:txBody>
        </p:sp>
      </p:grpSp>
      <p:sp>
        <p:nvSpPr>
          <p:cNvPr id="5" name="Rounded Rectangle 17">
            <a:extLst>
              <a:ext uri="{FF2B5EF4-FFF2-40B4-BE49-F238E27FC236}">
                <a16:creationId xmlns:a16="http://schemas.microsoft.com/office/drawing/2014/main" id="{E60FDD63-F04E-078D-8562-AC86557E75D4}"/>
              </a:ext>
            </a:extLst>
          </p:cNvPr>
          <p:cNvSpPr>
            <a:spLocks/>
          </p:cNvSpPr>
          <p:nvPr/>
        </p:nvSpPr>
        <p:spPr>
          <a:xfrm>
            <a:off x="7140198" y="688668"/>
            <a:ext cx="1786922" cy="482819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65455" rIns="66502" bIns="3325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71726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Tx/>
              <a:buNone/>
              <a:tabLst>
                <a:tab pos="415657" algn="l"/>
                <a:tab pos="831314" algn="l"/>
                <a:tab pos="1246972" algn="l"/>
                <a:tab pos="1662630" algn="l"/>
              </a:tabLst>
              <a:defRPr/>
            </a:pPr>
            <a:r>
              <a:rPr kumimoji="0" lang="en-US" sz="560" b="1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Times New Roman" panose="02020603050405020304" pitchFamily="18" charset="0"/>
              </a:rPr>
              <a:t>PIEMONTE:</a:t>
            </a:r>
          </a:p>
          <a:p>
            <a:pPr marL="0" marR="0" lvl="0" indent="0" algn="l" defTabSz="871726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5F87A0">
                  <a:lumMod val="75000"/>
                </a:srgbClr>
              </a:buClr>
              <a:buSzPct val="100000"/>
              <a:buFontTx/>
              <a:buNone/>
              <a:tabLst>
                <a:tab pos="415657" algn="l"/>
                <a:tab pos="831314" algn="l"/>
                <a:tab pos="1246972" algn="l"/>
                <a:tab pos="1662630" algn="l"/>
              </a:tabLst>
              <a:defRPr/>
            </a:pPr>
            <a:r>
              <a:rPr kumimoji="0" lang="en-US" sz="560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Times New Roman" panose="02020603050405020304" pitchFamily="18" charset="0"/>
              </a:rPr>
              <a:t>11 </a:t>
            </a:r>
            <a:r>
              <a:rPr lang="en-US" sz="560" kern="0" dirty="0">
                <a:solidFill>
                  <a:srgbClr val="9B0658"/>
                </a:solidFill>
                <a:latin typeface="Century Gothic" panose="020F0302020204030204"/>
                <a:cs typeface="Times New Roman" panose="02020603050405020304" pitchFamily="18" charset="0"/>
              </a:rPr>
              <a:t>RSA</a:t>
            </a:r>
            <a:r>
              <a:rPr kumimoji="0" lang="en-US" sz="560" b="0" i="0" u="none" strike="noStrike" kern="0" cap="none" spc="0" normalizeH="0" baseline="0" noProof="0" dirty="0">
                <a:ln>
                  <a:noFill/>
                </a:ln>
                <a:solidFill>
                  <a:srgbClr val="9B065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Times New Roman" panose="02020603050405020304" pitchFamily="18" charset="0"/>
              </a:rPr>
              <a:t>, 1.306 </a:t>
            </a:r>
            <a:r>
              <a:rPr lang="en-US" sz="560" kern="0" dirty="0" err="1">
                <a:solidFill>
                  <a:srgbClr val="9B0658"/>
                </a:solidFill>
                <a:latin typeface="Century Gothic" panose="020F0302020204030204"/>
                <a:cs typeface="Times New Roman" panose="02020603050405020304" pitchFamily="18" charset="0"/>
              </a:rPr>
              <a:t>posti</a:t>
            </a:r>
            <a:r>
              <a:rPr lang="en-US" sz="560" kern="0" dirty="0">
                <a:solidFill>
                  <a:srgbClr val="9B0658"/>
                </a:solidFill>
                <a:latin typeface="Century Gothic" panose="020F0302020204030204"/>
                <a:cs typeface="Times New Roman" panose="02020603050405020304" pitchFamily="18" charset="0"/>
              </a:rPr>
              <a:t> </a:t>
            </a:r>
            <a:r>
              <a:rPr lang="en-US" sz="560" kern="0" dirty="0" err="1">
                <a:solidFill>
                  <a:srgbClr val="9B0658"/>
                </a:solidFill>
                <a:latin typeface="Century Gothic" panose="020F0302020204030204"/>
                <a:cs typeface="Times New Roman" panose="02020603050405020304" pitchFamily="18" charset="0"/>
              </a:rPr>
              <a:t>letto</a:t>
            </a:r>
            <a:endParaRPr kumimoji="0" lang="en-US" sz="560" b="0" i="0" u="none" strike="noStrike" kern="0" cap="none" spc="0" normalizeH="0" baseline="0" noProof="0" dirty="0">
              <a:ln>
                <a:noFill/>
              </a:ln>
              <a:solidFill>
                <a:srgbClr val="9B0658"/>
              </a:solidFill>
              <a:effectLst/>
              <a:uLnTx/>
              <a:uFillTx/>
              <a:latin typeface="Century Gothic" panose="020F03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8B65CFC5-7F0B-C4DF-6497-08DA5B30A31D}"/>
              </a:ext>
            </a:extLst>
          </p:cNvPr>
          <p:cNvSpPr txBox="1"/>
          <p:nvPr/>
        </p:nvSpPr>
        <p:spPr>
          <a:xfrm>
            <a:off x="5153126" y="2983367"/>
            <a:ext cx="88507" cy="57151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9661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>
            <a:extLst>
              <a:ext uri="{FF2B5EF4-FFF2-40B4-BE49-F238E27FC236}">
                <a16:creationId xmlns:a16="http://schemas.microsoft.com/office/drawing/2014/main" id="{C7E60FE3-1F9A-E651-A8A5-2950C3A5407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F7F78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D783B58E-8B43-8DBA-C37D-207965D58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915" y="482141"/>
            <a:ext cx="8140167" cy="871627"/>
          </a:xfrm>
        </p:spPr>
        <p:txBody>
          <a:bodyPr/>
          <a:lstStyle/>
          <a:p>
            <a:pPr algn="ctr"/>
            <a:r>
              <a:rPr lang="it-IT" sz="2400" b="1" cap="all" dirty="0">
                <a:solidFill>
                  <a:srgbClr val="5D004A"/>
                </a:solidFill>
                <a:latin typeface="Avenir Black" panose="02000503020000020003" pitchFamily="2" charset="0"/>
              </a:rPr>
              <a:t>LAVORARE IN RSA</a:t>
            </a:r>
            <a:br>
              <a:rPr lang="it-IT" b="1" cap="all" dirty="0">
                <a:solidFill>
                  <a:srgbClr val="5D004A"/>
                </a:solidFill>
                <a:latin typeface="Avenir Black" panose="02000503020000020003" pitchFamily="2" charset="0"/>
              </a:rPr>
            </a:br>
            <a: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  <a:t>ESPERIENZE, COINVOLGIMENTO, FORMAZIONE</a:t>
            </a:r>
            <a:b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</a:br>
            <a:r>
              <a:rPr lang="it-IT" sz="1600" b="1" cap="all" dirty="0">
                <a:solidFill>
                  <a:srgbClr val="EF7F78"/>
                </a:solidFill>
                <a:latin typeface="Avenir Heavy" panose="02000503020000020003" pitchFamily="2" charset="0"/>
              </a:rPr>
              <a:t>PER UNA COSTANTE CRESCITA PROFESSIONALE</a:t>
            </a:r>
            <a:endParaRPr lang="it-IT" sz="1600" b="1" dirty="0">
              <a:solidFill>
                <a:srgbClr val="EF7F78"/>
              </a:solidFill>
              <a:latin typeface="Avenir Heavy" panose="02000503020000020003" pitchFamily="2" charset="0"/>
            </a:endParaRPr>
          </a:p>
        </p:txBody>
      </p:sp>
      <p:pic>
        <p:nvPicPr>
          <p:cNvPr id="10" name="Immagine 9" descr="Immagine che contiene testo, regina, grafica vettoriale&#10;&#10;Descrizione generata automaticamente">
            <a:extLst>
              <a:ext uri="{FF2B5EF4-FFF2-40B4-BE49-F238E27FC236}">
                <a16:creationId xmlns:a16="http://schemas.microsoft.com/office/drawing/2014/main" id="{EC130C61-BAD6-DC1D-133F-A5D33E0832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8762" y="1217044"/>
            <a:ext cx="5166472" cy="344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6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3">
            <a:extLst>
              <a:ext uri="{FF2B5EF4-FFF2-40B4-BE49-F238E27FC236}">
                <a16:creationId xmlns:a16="http://schemas.microsoft.com/office/drawing/2014/main" id="{14A9B711-19BA-2D5B-E8A2-469BE967867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8423570" cy="2662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it-IT" sz="2400" b="1" dirty="0">
                <a:solidFill>
                  <a:srgbClr val="5D004A"/>
                </a:solidFill>
                <a:latin typeface="Avenir Black" panose="02000503020000020003" pitchFamily="2" charset="0"/>
              </a:rPr>
              <a:t>I NOSTRI VALORI</a:t>
            </a:r>
            <a:br>
              <a:rPr lang="it-IT" sz="2000" b="1" dirty="0">
                <a:latin typeface="Avenir Heavy" panose="02000503020000020003" pitchFamily="2" charset="0"/>
              </a:rPr>
            </a:br>
            <a:br>
              <a:rPr lang="it-IT" b="1" dirty="0">
                <a:latin typeface="Avenir Heavy" panose="02000503020000020003" pitchFamily="2" charset="0"/>
              </a:rPr>
            </a:br>
            <a:br>
              <a:rPr lang="it-IT" b="1" dirty="0">
                <a:latin typeface="Avenir Heavy" panose="02000503020000020003" pitchFamily="2" charset="0"/>
              </a:rPr>
            </a:br>
            <a:r>
              <a:rPr lang="it-IT" b="1" dirty="0">
                <a:latin typeface="Avenir Heavy" panose="02000503020000020003" pitchFamily="2" charset="0"/>
              </a:rPr>
              <a:t> </a:t>
            </a:r>
            <a:br>
              <a:rPr lang="it-IT" b="1" dirty="0">
                <a:latin typeface="Avenir Heavy" panose="02000503020000020003" pitchFamily="2" charset="0"/>
              </a:rPr>
            </a:br>
            <a:endParaRPr lang="it-IT" b="1" dirty="0">
              <a:latin typeface="Avenir Heavy" panose="02000503020000020003" pitchFamily="2" charset="0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AB52DB0-7AFC-479D-38C1-2FFF84A7B4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84"/>
          <a:stretch/>
        </p:blipFill>
        <p:spPr>
          <a:xfrm>
            <a:off x="2864112" y="1448693"/>
            <a:ext cx="3446003" cy="877235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F9BA8A33-6995-4EA3-7416-0E8FDDBA2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1321890D-A04B-12D9-D200-A25904BFAE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44893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2AF9ACE-CE7A-3105-2E58-1B5E6D4B6E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03195"/>
            <a:ext cx="9144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b="0" i="1" u="none" strike="noStrike" cap="none" normalizeH="0" baseline="0" dirty="0">
                <a:ln>
                  <a:noFill/>
                </a:ln>
                <a:solidFill>
                  <a:srgbClr val="9C135B"/>
                </a:solidFill>
                <a:effectLst/>
                <a:latin typeface="Avenir" panose="02000503020000020003"/>
                <a:ea typeface="Arial" panose="020B0604020202020204" pitchFamily="34" charset="0"/>
                <a:cs typeface="Times New Roman" panose="02020603050405020304" pitchFamily="18" charset="0"/>
              </a:rPr>
              <a:t>Al centro del nostro lavoro mettiamo tre valori cardine, riassumibili nell’acronimo:</a:t>
            </a:r>
            <a:endParaRPr kumimoji="0" lang="it-IT" altLang="it-IT" b="0" i="0" u="none" strike="noStrike" cap="none" normalizeH="0" baseline="0" dirty="0">
              <a:ln>
                <a:noFill/>
              </a:ln>
              <a:solidFill>
                <a:srgbClr val="9C135B"/>
              </a:solidFill>
              <a:effectLst/>
              <a:latin typeface="Avenir" panose="02000503020000020003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D9B1FC1-240B-0E16-1D55-DFE038DD77B8}"/>
              </a:ext>
            </a:extLst>
          </p:cNvPr>
          <p:cNvSpPr txBox="1"/>
          <p:nvPr/>
        </p:nvSpPr>
        <p:spPr>
          <a:xfrm>
            <a:off x="0" y="2433422"/>
            <a:ext cx="914400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rgbClr val="F9A686"/>
                </a:solidFill>
              </a:rPr>
              <a:t>COESIONE</a:t>
            </a:r>
          </a:p>
          <a:p>
            <a:pPr algn="ctr"/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Aiuto reciproco per conseguire gli obiettivi, comunicazione sincera e trasparente, </a:t>
            </a:r>
          </a:p>
          <a:p>
            <a:pPr algn="ctr">
              <a:spcAft>
                <a:spcPts val="600"/>
              </a:spcAft>
            </a:pPr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spirito di squadra, collaborazione</a:t>
            </a:r>
          </a:p>
          <a:p>
            <a:pPr algn="ctr"/>
            <a:r>
              <a:rPr lang="it-IT" dirty="0">
                <a:solidFill>
                  <a:srgbClr val="940059"/>
                </a:solidFill>
              </a:rPr>
              <a:t>RISPETTO</a:t>
            </a:r>
          </a:p>
          <a:p>
            <a:pPr algn="ctr"/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Riconoscimento e rispetto dell’altro, ascolto e osservazione per capire il prossimo, crescita personale grazie al confronto, </a:t>
            </a:r>
          </a:p>
          <a:p>
            <a:pPr algn="ctr">
              <a:spcAft>
                <a:spcPts val="600"/>
              </a:spcAft>
            </a:pPr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gentilezza, curarsi e prendersi cura</a:t>
            </a:r>
          </a:p>
          <a:p>
            <a:pPr algn="ctr"/>
            <a:r>
              <a:rPr lang="it-IT" dirty="0">
                <a:solidFill>
                  <a:srgbClr val="9F79B6"/>
                </a:solidFill>
              </a:rPr>
              <a:t>ENGAGEMENT</a:t>
            </a:r>
          </a:p>
          <a:p>
            <a:pPr algn="ctr"/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Come coinvolgimento per la tutela della qualità nell’accoglienza, come spirito di intraprendenza </a:t>
            </a:r>
          </a:p>
          <a:p>
            <a:pPr algn="ctr"/>
            <a:r>
              <a:rPr lang="it-IT" sz="900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per la crescita dell’impresa, come orgoglio per i valori dell’azienda</a:t>
            </a:r>
          </a:p>
        </p:txBody>
      </p:sp>
    </p:spTree>
    <p:extLst>
      <p:ext uri="{BB962C8B-B14F-4D97-AF65-F5344CB8AC3E}">
        <p14:creationId xmlns:p14="http://schemas.microsoft.com/office/powerpoint/2010/main" val="71830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>
            <a:extLst>
              <a:ext uri="{FF2B5EF4-FFF2-40B4-BE49-F238E27FC236}">
                <a16:creationId xmlns:a16="http://schemas.microsoft.com/office/drawing/2014/main" id="{E872723E-1700-4A36-CE00-9876845350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560" t="4409" r="5953" b="5233"/>
          <a:stretch/>
        </p:blipFill>
        <p:spPr>
          <a:xfrm>
            <a:off x="6114786" y="687354"/>
            <a:ext cx="3029213" cy="4456146"/>
          </a:xfrm>
          <a:prstGeom prst="rect">
            <a:avLst/>
          </a:prstGeom>
        </p:spPr>
      </p:pic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624" imgH="623" progId="TCLayout.ActiveDocument.1">
                  <p:embed/>
                </p:oleObj>
              </mc:Choice>
              <mc:Fallback>
                <p:oleObj name="Diapositive think-cell" r:id="rId6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7421583-FB4A-B0FE-9A29-CE5ED805563B}"/>
              </a:ext>
            </a:extLst>
          </p:cNvPr>
          <p:cNvSpPr txBox="1"/>
          <p:nvPr/>
        </p:nvSpPr>
        <p:spPr>
          <a:xfrm>
            <a:off x="370294" y="1192771"/>
            <a:ext cx="5439818" cy="2754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  <a:sym typeface="Roboto Light"/>
              </a:rPr>
              <a:t>Per garantire il massimo della </a:t>
            </a:r>
            <a:r>
              <a:rPr lang="it-IT" sz="1100" b="1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  <a:sym typeface="Roboto Light"/>
              </a:rPr>
              <a:t>TRASPARENZA</a:t>
            </a:r>
            <a:r>
              <a:rPr lang="it-IT" sz="1100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  <a:sym typeface="Roboto Light"/>
              </a:rPr>
              <a:t> nelle nostre Residenze, </a:t>
            </a:r>
          </a:p>
          <a:p>
            <a:r>
              <a:rPr lang="it-IT" sz="1100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  <a:sym typeface="Roboto Light"/>
              </a:rPr>
              <a:t>chiediamo regolarmente il parere di:</a:t>
            </a:r>
          </a:p>
          <a:p>
            <a:endParaRPr lang="it-IT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  <a:sym typeface="Roboto Light"/>
            </a:endParaRPr>
          </a:p>
          <a:p>
            <a:endParaRPr lang="it-IT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endParaRPr lang="it-IT" sz="1800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endParaRPr lang="it-IT" sz="1800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endParaRPr lang="it-IT" sz="1800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endParaRPr lang="it-IT" sz="3200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endParaRPr lang="it-IT" sz="1200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  <a:p>
            <a:r>
              <a:rPr lang="it-IT" sz="1100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</a:rPr>
              <a:t>Affidandoci a un </a:t>
            </a:r>
            <a:r>
              <a:rPr lang="it-IT" sz="1100" b="1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</a:rPr>
              <a:t>PARTNER ESTERNO</a:t>
            </a:r>
            <a:r>
              <a:rPr lang="it-IT" sz="1100" kern="1200" dirty="0">
                <a:solidFill>
                  <a:srgbClr val="333333"/>
                </a:solidFill>
                <a:latin typeface="Avenir" panose="02000503020000020003" pitchFamily="2" charset="0"/>
                <a:ea typeface="+mn-ea"/>
                <a:cs typeface="+mn-cs"/>
              </a:rPr>
              <a:t>, indipendente e certificato ISO 20488:</a:t>
            </a:r>
          </a:p>
          <a:p>
            <a:endParaRPr lang="it-IT" kern="1200" dirty="0">
              <a:solidFill>
                <a:srgbClr val="333333"/>
              </a:solidFill>
              <a:latin typeface="Avenir" panose="02000503020000020003" pitchFamily="2" charset="0"/>
              <a:ea typeface="+mn-ea"/>
              <a:cs typeface="+mn-cs"/>
            </a:endParaRPr>
          </a:p>
        </p:txBody>
      </p:sp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8423570" cy="64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r>
              <a:rPr lang="it-IT" sz="2400" b="1" dirty="0">
                <a:solidFill>
                  <a:srgbClr val="5D004A"/>
                </a:solidFill>
                <a:latin typeface="Avenir Black" panose="02000503020000020003" pitchFamily="2" charset="0"/>
              </a:rPr>
              <a:t>1- WEDOXA</a:t>
            </a:r>
            <a:br>
              <a:rPr lang="it-IT" sz="2000" dirty="0">
                <a:latin typeface="Avenir Book" panose="02000503020000020003" pitchFamily="2" charset="0"/>
              </a:rPr>
            </a:br>
            <a:r>
              <a:rPr lang="it-IT" sz="1600" b="1" dirty="0">
                <a:solidFill>
                  <a:srgbClr val="EF7F78"/>
                </a:solidFill>
                <a:latin typeface="Avenir Heavy" panose="02000503020000020003" pitchFamily="2" charset="0"/>
              </a:rPr>
              <a:t>RECENSIONI AUTENTICATE</a:t>
            </a:r>
            <a:r>
              <a:rPr lang="it-IT" sz="1600" b="1" dirty="0">
                <a:latin typeface="Avenir Heavy" panose="02000503020000020003" pitchFamily="2" charset="0"/>
              </a:rPr>
              <a:t> </a:t>
            </a:r>
            <a:br>
              <a:rPr lang="it-IT" b="1" dirty="0">
                <a:latin typeface="Avenir Heavy" panose="02000503020000020003" pitchFamily="2" charset="0"/>
              </a:rPr>
            </a:br>
            <a:endParaRPr lang="it-IT" b="1" dirty="0">
              <a:latin typeface="Avenir Heavy" panose="02000503020000020003" pitchFamily="2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B0BC2D9A-4C43-E6A2-4DCF-171027F4E01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186" b="11833"/>
          <a:stretch/>
        </p:blipFill>
        <p:spPr>
          <a:xfrm>
            <a:off x="1944204" y="3805429"/>
            <a:ext cx="1722644" cy="488454"/>
          </a:xfrm>
          <a:prstGeom prst="rect">
            <a:avLst/>
          </a:prstGeom>
        </p:spPr>
      </p:pic>
      <p:grpSp>
        <p:nvGrpSpPr>
          <p:cNvPr id="30" name="Gruppo 29">
            <a:extLst>
              <a:ext uri="{FF2B5EF4-FFF2-40B4-BE49-F238E27FC236}">
                <a16:creationId xmlns:a16="http://schemas.microsoft.com/office/drawing/2014/main" id="{A7A90F4E-23F8-C797-BA15-E8402C64E5D8}"/>
              </a:ext>
            </a:extLst>
          </p:cNvPr>
          <p:cNvGrpSpPr/>
          <p:nvPr/>
        </p:nvGrpSpPr>
        <p:grpSpPr>
          <a:xfrm>
            <a:off x="1576962" y="1780249"/>
            <a:ext cx="2557014" cy="1420601"/>
            <a:chOff x="5701796" y="1209947"/>
            <a:chExt cx="5830986" cy="3138501"/>
          </a:xfrm>
        </p:grpSpPr>
        <p:grpSp>
          <p:nvGrpSpPr>
            <p:cNvPr id="7" name="Groupe 22">
              <a:extLst>
                <a:ext uri="{FF2B5EF4-FFF2-40B4-BE49-F238E27FC236}">
                  <a16:creationId xmlns:a16="http://schemas.microsoft.com/office/drawing/2014/main" id="{42CC0A79-4841-1BF1-011D-787798BECAAF}"/>
                </a:ext>
              </a:extLst>
            </p:cNvPr>
            <p:cNvGrpSpPr/>
            <p:nvPr/>
          </p:nvGrpSpPr>
          <p:grpSpPr>
            <a:xfrm>
              <a:off x="5703105" y="2624574"/>
              <a:ext cx="1654176" cy="1723874"/>
              <a:chOff x="1251804" y="1866900"/>
              <a:chExt cx="2514600" cy="2788920"/>
            </a:xfrm>
            <a:solidFill>
              <a:srgbClr val="9C135B"/>
            </a:solidFill>
          </p:grpSpPr>
          <p:sp>
            <p:nvSpPr>
              <p:cNvPr id="10" name="Ellipse 2">
                <a:extLst>
                  <a:ext uri="{FF2B5EF4-FFF2-40B4-BE49-F238E27FC236}">
                    <a16:creationId xmlns:a16="http://schemas.microsoft.com/office/drawing/2014/main" id="{DF669A2D-A606-3E69-7D16-4D9DFC4C6306}"/>
                  </a:ext>
                </a:extLst>
              </p:cNvPr>
              <p:cNvSpPr/>
              <p:nvPr/>
            </p:nvSpPr>
            <p:spPr>
              <a:xfrm>
                <a:off x="1526125" y="2166497"/>
                <a:ext cx="2240279" cy="2240280"/>
              </a:xfrm>
              <a:prstGeom prst="ellipse">
                <a:avLst/>
              </a:prstGeom>
              <a:solidFill>
                <a:srgbClr val="9C1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" name="Forme libre : forme 10">
                <a:extLst>
                  <a:ext uri="{FF2B5EF4-FFF2-40B4-BE49-F238E27FC236}">
                    <a16:creationId xmlns:a16="http://schemas.microsoft.com/office/drawing/2014/main" id="{EE10971D-76BB-34F0-BDC7-AC5B0CFCDFBB}"/>
                  </a:ext>
                </a:extLst>
              </p:cNvPr>
              <p:cNvSpPr/>
              <p:nvPr/>
            </p:nvSpPr>
            <p:spPr>
              <a:xfrm>
                <a:off x="1251804" y="1866900"/>
                <a:ext cx="2411970" cy="2788920"/>
              </a:xfrm>
              <a:custGeom>
                <a:avLst/>
                <a:gdLst>
                  <a:gd name="connsiteX0" fmla="*/ 1394460 w 2411970"/>
                  <a:gd name="connsiteY0" fmla="*/ 0 h 2788920"/>
                  <a:gd name="connsiteX1" fmla="*/ 2380492 w 2411970"/>
                  <a:gd name="connsiteY1" fmla="*/ 408428 h 2788920"/>
                  <a:gd name="connsiteX2" fmla="*/ 2411970 w 2411970"/>
                  <a:gd name="connsiteY2" fmla="*/ 443062 h 2788920"/>
                  <a:gd name="connsiteX3" fmla="*/ 2233540 w 2411970"/>
                  <a:gd name="connsiteY3" fmla="*/ 443062 h 2788920"/>
                  <a:gd name="connsiteX4" fmla="*/ 2202203 w 2411970"/>
                  <a:gd name="connsiteY4" fmla="*/ 414581 h 2788920"/>
                  <a:gd name="connsiteX5" fmla="*/ 1394460 w 2411970"/>
                  <a:gd name="connsiteY5" fmla="*/ 124609 h 2788920"/>
                  <a:gd name="connsiteX6" fmla="*/ 124609 w 2411970"/>
                  <a:gd name="connsiteY6" fmla="*/ 1394460 h 2788920"/>
                  <a:gd name="connsiteX7" fmla="*/ 1394460 w 2411970"/>
                  <a:gd name="connsiteY7" fmla="*/ 2664311 h 2788920"/>
                  <a:gd name="connsiteX8" fmla="*/ 2202203 w 2411970"/>
                  <a:gd name="connsiteY8" fmla="*/ 2374339 h 2788920"/>
                  <a:gd name="connsiteX9" fmla="*/ 2233539 w 2411970"/>
                  <a:gd name="connsiteY9" fmla="*/ 2345859 h 2788920"/>
                  <a:gd name="connsiteX10" fmla="*/ 2411969 w 2411970"/>
                  <a:gd name="connsiteY10" fmla="*/ 2345859 h 2788920"/>
                  <a:gd name="connsiteX11" fmla="*/ 2380492 w 2411970"/>
                  <a:gd name="connsiteY11" fmla="*/ 2380492 h 2788920"/>
                  <a:gd name="connsiteX12" fmla="*/ 1394460 w 2411970"/>
                  <a:gd name="connsiteY12" fmla="*/ 2788920 h 2788920"/>
                  <a:gd name="connsiteX13" fmla="*/ 0 w 2411970"/>
                  <a:gd name="connsiteY13" fmla="*/ 1394460 h 2788920"/>
                  <a:gd name="connsiteX14" fmla="*/ 1394460 w 2411970"/>
                  <a:gd name="connsiteY14" fmla="*/ 0 h 278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1970" h="2788920">
                    <a:moveTo>
                      <a:pt x="1394460" y="0"/>
                    </a:moveTo>
                    <a:cubicBezTo>
                      <a:pt x="1779530" y="0"/>
                      <a:pt x="2128145" y="156080"/>
                      <a:pt x="2380492" y="408428"/>
                    </a:cubicBezTo>
                    <a:lnTo>
                      <a:pt x="2411970" y="443062"/>
                    </a:lnTo>
                    <a:lnTo>
                      <a:pt x="2233540" y="443062"/>
                    </a:lnTo>
                    <a:lnTo>
                      <a:pt x="2202203" y="414581"/>
                    </a:lnTo>
                    <a:cubicBezTo>
                      <a:pt x="1982698" y="233430"/>
                      <a:pt x="1701287" y="124609"/>
                      <a:pt x="1394460" y="124609"/>
                    </a:cubicBezTo>
                    <a:cubicBezTo>
                      <a:pt x="693141" y="124609"/>
                      <a:pt x="124609" y="693141"/>
                      <a:pt x="124609" y="1394460"/>
                    </a:cubicBezTo>
                    <a:cubicBezTo>
                      <a:pt x="124609" y="2095779"/>
                      <a:pt x="693141" y="2664311"/>
                      <a:pt x="1394460" y="2664311"/>
                    </a:cubicBezTo>
                    <a:cubicBezTo>
                      <a:pt x="1701287" y="2664311"/>
                      <a:pt x="1982698" y="2555491"/>
                      <a:pt x="2202203" y="2374339"/>
                    </a:cubicBezTo>
                    <a:lnTo>
                      <a:pt x="2233539" y="2345859"/>
                    </a:lnTo>
                    <a:lnTo>
                      <a:pt x="2411969" y="2345859"/>
                    </a:lnTo>
                    <a:lnTo>
                      <a:pt x="2380492" y="2380492"/>
                    </a:lnTo>
                    <a:cubicBezTo>
                      <a:pt x="2128145" y="2632840"/>
                      <a:pt x="1779530" y="2788920"/>
                      <a:pt x="1394460" y="2788920"/>
                    </a:cubicBezTo>
                    <a:cubicBezTo>
                      <a:pt x="624321" y="2788920"/>
                      <a:pt x="0" y="2164599"/>
                      <a:pt x="0" y="1394460"/>
                    </a:cubicBezTo>
                    <a:cubicBezTo>
                      <a:pt x="0" y="624321"/>
                      <a:pt x="624321" y="0"/>
                      <a:pt x="139446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e 22">
              <a:extLst>
                <a:ext uri="{FF2B5EF4-FFF2-40B4-BE49-F238E27FC236}">
                  <a16:creationId xmlns:a16="http://schemas.microsoft.com/office/drawing/2014/main" id="{5EB908C9-0C8D-DCA2-175E-68F41CBE77E5}"/>
                </a:ext>
              </a:extLst>
            </p:cNvPr>
            <p:cNvGrpSpPr/>
            <p:nvPr/>
          </p:nvGrpSpPr>
          <p:grpSpPr>
            <a:xfrm>
              <a:off x="7559934" y="1209947"/>
              <a:ext cx="1654178" cy="1723874"/>
              <a:chOff x="1251804" y="1866900"/>
              <a:chExt cx="2514603" cy="2788920"/>
            </a:xfrm>
            <a:solidFill>
              <a:srgbClr val="9C135B"/>
            </a:solidFill>
          </p:grpSpPr>
          <p:sp>
            <p:nvSpPr>
              <p:cNvPr id="15" name="Ellipse 2">
                <a:extLst>
                  <a:ext uri="{FF2B5EF4-FFF2-40B4-BE49-F238E27FC236}">
                    <a16:creationId xmlns:a16="http://schemas.microsoft.com/office/drawing/2014/main" id="{4833C23C-29BD-0020-0A93-C92B638D0BAA}"/>
                  </a:ext>
                </a:extLst>
              </p:cNvPr>
              <p:cNvSpPr/>
              <p:nvPr/>
            </p:nvSpPr>
            <p:spPr>
              <a:xfrm>
                <a:off x="1526128" y="2166498"/>
                <a:ext cx="2240279" cy="224028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" name="Forme libre : forme 10">
                <a:extLst>
                  <a:ext uri="{FF2B5EF4-FFF2-40B4-BE49-F238E27FC236}">
                    <a16:creationId xmlns:a16="http://schemas.microsoft.com/office/drawing/2014/main" id="{34E224EC-6ACC-9601-6687-93ED1FD0D151}"/>
                  </a:ext>
                </a:extLst>
              </p:cNvPr>
              <p:cNvSpPr/>
              <p:nvPr/>
            </p:nvSpPr>
            <p:spPr>
              <a:xfrm>
                <a:off x="1251804" y="1866900"/>
                <a:ext cx="2411970" cy="2788920"/>
              </a:xfrm>
              <a:custGeom>
                <a:avLst/>
                <a:gdLst>
                  <a:gd name="connsiteX0" fmla="*/ 1394460 w 2411970"/>
                  <a:gd name="connsiteY0" fmla="*/ 0 h 2788920"/>
                  <a:gd name="connsiteX1" fmla="*/ 2380492 w 2411970"/>
                  <a:gd name="connsiteY1" fmla="*/ 408428 h 2788920"/>
                  <a:gd name="connsiteX2" fmla="*/ 2411970 w 2411970"/>
                  <a:gd name="connsiteY2" fmla="*/ 443062 h 2788920"/>
                  <a:gd name="connsiteX3" fmla="*/ 2233540 w 2411970"/>
                  <a:gd name="connsiteY3" fmla="*/ 443062 h 2788920"/>
                  <a:gd name="connsiteX4" fmla="*/ 2202203 w 2411970"/>
                  <a:gd name="connsiteY4" fmla="*/ 414581 h 2788920"/>
                  <a:gd name="connsiteX5" fmla="*/ 1394460 w 2411970"/>
                  <a:gd name="connsiteY5" fmla="*/ 124609 h 2788920"/>
                  <a:gd name="connsiteX6" fmla="*/ 124609 w 2411970"/>
                  <a:gd name="connsiteY6" fmla="*/ 1394460 h 2788920"/>
                  <a:gd name="connsiteX7" fmla="*/ 1394460 w 2411970"/>
                  <a:gd name="connsiteY7" fmla="*/ 2664311 h 2788920"/>
                  <a:gd name="connsiteX8" fmla="*/ 2202203 w 2411970"/>
                  <a:gd name="connsiteY8" fmla="*/ 2374339 h 2788920"/>
                  <a:gd name="connsiteX9" fmla="*/ 2233539 w 2411970"/>
                  <a:gd name="connsiteY9" fmla="*/ 2345859 h 2788920"/>
                  <a:gd name="connsiteX10" fmla="*/ 2411969 w 2411970"/>
                  <a:gd name="connsiteY10" fmla="*/ 2345859 h 2788920"/>
                  <a:gd name="connsiteX11" fmla="*/ 2380492 w 2411970"/>
                  <a:gd name="connsiteY11" fmla="*/ 2380492 h 2788920"/>
                  <a:gd name="connsiteX12" fmla="*/ 1394460 w 2411970"/>
                  <a:gd name="connsiteY12" fmla="*/ 2788920 h 2788920"/>
                  <a:gd name="connsiteX13" fmla="*/ 0 w 2411970"/>
                  <a:gd name="connsiteY13" fmla="*/ 1394460 h 2788920"/>
                  <a:gd name="connsiteX14" fmla="*/ 1394460 w 2411970"/>
                  <a:gd name="connsiteY14" fmla="*/ 0 h 278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1970" h="2788920">
                    <a:moveTo>
                      <a:pt x="1394460" y="0"/>
                    </a:moveTo>
                    <a:cubicBezTo>
                      <a:pt x="1779530" y="0"/>
                      <a:pt x="2128145" y="156080"/>
                      <a:pt x="2380492" y="408428"/>
                    </a:cubicBezTo>
                    <a:lnTo>
                      <a:pt x="2411970" y="443062"/>
                    </a:lnTo>
                    <a:lnTo>
                      <a:pt x="2233540" y="443062"/>
                    </a:lnTo>
                    <a:lnTo>
                      <a:pt x="2202203" y="414581"/>
                    </a:lnTo>
                    <a:cubicBezTo>
                      <a:pt x="1982698" y="233430"/>
                      <a:pt x="1701287" y="124609"/>
                      <a:pt x="1394460" y="124609"/>
                    </a:cubicBezTo>
                    <a:cubicBezTo>
                      <a:pt x="693141" y="124609"/>
                      <a:pt x="124609" y="693141"/>
                      <a:pt x="124609" y="1394460"/>
                    </a:cubicBezTo>
                    <a:cubicBezTo>
                      <a:pt x="124609" y="2095779"/>
                      <a:pt x="693141" y="2664311"/>
                      <a:pt x="1394460" y="2664311"/>
                    </a:cubicBezTo>
                    <a:cubicBezTo>
                      <a:pt x="1701287" y="2664311"/>
                      <a:pt x="1982698" y="2555491"/>
                      <a:pt x="2202203" y="2374339"/>
                    </a:cubicBezTo>
                    <a:lnTo>
                      <a:pt x="2233539" y="2345859"/>
                    </a:lnTo>
                    <a:lnTo>
                      <a:pt x="2411969" y="2345859"/>
                    </a:lnTo>
                    <a:lnTo>
                      <a:pt x="2380492" y="2380492"/>
                    </a:lnTo>
                    <a:cubicBezTo>
                      <a:pt x="2128145" y="2632840"/>
                      <a:pt x="1779530" y="2788920"/>
                      <a:pt x="1394460" y="2788920"/>
                    </a:cubicBezTo>
                    <a:cubicBezTo>
                      <a:pt x="624321" y="2788920"/>
                      <a:pt x="0" y="2164599"/>
                      <a:pt x="0" y="1394460"/>
                    </a:cubicBezTo>
                    <a:cubicBezTo>
                      <a:pt x="0" y="624321"/>
                      <a:pt x="624321" y="0"/>
                      <a:pt x="139446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e 22">
              <a:extLst>
                <a:ext uri="{FF2B5EF4-FFF2-40B4-BE49-F238E27FC236}">
                  <a16:creationId xmlns:a16="http://schemas.microsoft.com/office/drawing/2014/main" id="{9B64DC34-139B-91BF-4F22-9CE49DBABFEF}"/>
                </a:ext>
              </a:extLst>
            </p:cNvPr>
            <p:cNvGrpSpPr/>
            <p:nvPr/>
          </p:nvGrpSpPr>
          <p:grpSpPr>
            <a:xfrm>
              <a:off x="9655643" y="2593488"/>
              <a:ext cx="1654176" cy="1723874"/>
              <a:chOff x="1251804" y="1866900"/>
              <a:chExt cx="2514600" cy="2788920"/>
            </a:xfrm>
            <a:solidFill>
              <a:srgbClr val="9C135B"/>
            </a:solidFill>
          </p:grpSpPr>
          <p:sp>
            <p:nvSpPr>
              <p:cNvPr id="18" name="Ellipse 2">
                <a:extLst>
                  <a:ext uri="{FF2B5EF4-FFF2-40B4-BE49-F238E27FC236}">
                    <a16:creationId xmlns:a16="http://schemas.microsoft.com/office/drawing/2014/main" id="{CACDC7AB-B45A-0911-7DFC-C3F21E8E852E}"/>
                  </a:ext>
                </a:extLst>
              </p:cNvPr>
              <p:cNvSpPr/>
              <p:nvPr/>
            </p:nvSpPr>
            <p:spPr>
              <a:xfrm>
                <a:off x="1526125" y="2166497"/>
                <a:ext cx="2240279" cy="224028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9" name="Forme libre : forme 10">
                <a:extLst>
                  <a:ext uri="{FF2B5EF4-FFF2-40B4-BE49-F238E27FC236}">
                    <a16:creationId xmlns:a16="http://schemas.microsoft.com/office/drawing/2014/main" id="{BEA7ABE2-6DF3-D7BF-6E6D-9EEEDDCE09C0}"/>
                  </a:ext>
                </a:extLst>
              </p:cNvPr>
              <p:cNvSpPr/>
              <p:nvPr/>
            </p:nvSpPr>
            <p:spPr>
              <a:xfrm>
                <a:off x="1251804" y="1866900"/>
                <a:ext cx="2411970" cy="2788920"/>
              </a:xfrm>
              <a:custGeom>
                <a:avLst/>
                <a:gdLst>
                  <a:gd name="connsiteX0" fmla="*/ 1394460 w 2411970"/>
                  <a:gd name="connsiteY0" fmla="*/ 0 h 2788920"/>
                  <a:gd name="connsiteX1" fmla="*/ 2380492 w 2411970"/>
                  <a:gd name="connsiteY1" fmla="*/ 408428 h 2788920"/>
                  <a:gd name="connsiteX2" fmla="*/ 2411970 w 2411970"/>
                  <a:gd name="connsiteY2" fmla="*/ 443062 h 2788920"/>
                  <a:gd name="connsiteX3" fmla="*/ 2233540 w 2411970"/>
                  <a:gd name="connsiteY3" fmla="*/ 443062 h 2788920"/>
                  <a:gd name="connsiteX4" fmla="*/ 2202203 w 2411970"/>
                  <a:gd name="connsiteY4" fmla="*/ 414581 h 2788920"/>
                  <a:gd name="connsiteX5" fmla="*/ 1394460 w 2411970"/>
                  <a:gd name="connsiteY5" fmla="*/ 124609 h 2788920"/>
                  <a:gd name="connsiteX6" fmla="*/ 124609 w 2411970"/>
                  <a:gd name="connsiteY6" fmla="*/ 1394460 h 2788920"/>
                  <a:gd name="connsiteX7" fmla="*/ 1394460 w 2411970"/>
                  <a:gd name="connsiteY7" fmla="*/ 2664311 h 2788920"/>
                  <a:gd name="connsiteX8" fmla="*/ 2202203 w 2411970"/>
                  <a:gd name="connsiteY8" fmla="*/ 2374339 h 2788920"/>
                  <a:gd name="connsiteX9" fmla="*/ 2233539 w 2411970"/>
                  <a:gd name="connsiteY9" fmla="*/ 2345859 h 2788920"/>
                  <a:gd name="connsiteX10" fmla="*/ 2411969 w 2411970"/>
                  <a:gd name="connsiteY10" fmla="*/ 2345859 h 2788920"/>
                  <a:gd name="connsiteX11" fmla="*/ 2380492 w 2411970"/>
                  <a:gd name="connsiteY11" fmla="*/ 2380492 h 2788920"/>
                  <a:gd name="connsiteX12" fmla="*/ 1394460 w 2411970"/>
                  <a:gd name="connsiteY12" fmla="*/ 2788920 h 2788920"/>
                  <a:gd name="connsiteX13" fmla="*/ 0 w 2411970"/>
                  <a:gd name="connsiteY13" fmla="*/ 1394460 h 2788920"/>
                  <a:gd name="connsiteX14" fmla="*/ 1394460 w 2411970"/>
                  <a:gd name="connsiteY14" fmla="*/ 0 h 2788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411970" h="2788920">
                    <a:moveTo>
                      <a:pt x="1394460" y="0"/>
                    </a:moveTo>
                    <a:cubicBezTo>
                      <a:pt x="1779530" y="0"/>
                      <a:pt x="2128145" y="156080"/>
                      <a:pt x="2380492" y="408428"/>
                    </a:cubicBezTo>
                    <a:lnTo>
                      <a:pt x="2411970" y="443062"/>
                    </a:lnTo>
                    <a:lnTo>
                      <a:pt x="2233540" y="443062"/>
                    </a:lnTo>
                    <a:lnTo>
                      <a:pt x="2202203" y="414581"/>
                    </a:lnTo>
                    <a:cubicBezTo>
                      <a:pt x="1982698" y="233430"/>
                      <a:pt x="1701287" y="124609"/>
                      <a:pt x="1394460" y="124609"/>
                    </a:cubicBezTo>
                    <a:cubicBezTo>
                      <a:pt x="693141" y="124609"/>
                      <a:pt x="124609" y="693141"/>
                      <a:pt x="124609" y="1394460"/>
                    </a:cubicBezTo>
                    <a:cubicBezTo>
                      <a:pt x="124609" y="2095779"/>
                      <a:pt x="693141" y="2664311"/>
                      <a:pt x="1394460" y="2664311"/>
                    </a:cubicBezTo>
                    <a:cubicBezTo>
                      <a:pt x="1701287" y="2664311"/>
                      <a:pt x="1982698" y="2555491"/>
                      <a:pt x="2202203" y="2374339"/>
                    </a:cubicBezTo>
                    <a:lnTo>
                      <a:pt x="2233539" y="2345859"/>
                    </a:lnTo>
                    <a:lnTo>
                      <a:pt x="2411969" y="2345859"/>
                    </a:lnTo>
                    <a:lnTo>
                      <a:pt x="2380492" y="2380492"/>
                    </a:lnTo>
                    <a:cubicBezTo>
                      <a:pt x="2128145" y="2632840"/>
                      <a:pt x="1779530" y="2788920"/>
                      <a:pt x="1394460" y="2788920"/>
                    </a:cubicBezTo>
                    <a:cubicBezTo>
                      <a:pt x="624321" y="2788920"/>
                      <a:pt x="0" y="2164599"/>
                      <a:pt x="0" y="1394460"/>
                    </a:cubicBezTo>
                    <a:cubicBezTo>
                      <a:pt x="0" y="624321"/>
                      <a:pt x="624321" y="0"/>
                      <a:pt x="139446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0" name="ZoneTexte 1">
              <a:extLst>
                <a:ext uri="{FF2B5EF4-FFF2-40B4-BE49-F238E27FC236}">
                  <a16:creationId xmlns:a16="http://schemas.microsoft.com/office/drawing/2014/main" id="{DB1684AA-D38F-AADE-C072-A07C5DA55111}"/>
                </a:ext>
              </a:extLst>
            </p:cNvPr>
            <p:cNvSpPr txBox="1"/>
            <p:nvPr/>
          </p:nvSpPr>
          <p:spPr>
            <a:xfrm>
              <a:off x="5701796" y="3301876"/>
              <a:ext cx="1753929" cy="337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65000"/>
                </a:lnSpc>
                <a:buClrTx/>
                <a:defRPr/>
              </a:pPr>
              <a:r>
                <a:rPr lang="fr-FR" sz="900" b="1" dirty="0">
                  <a:solidFill>
                    <a:prstClr val="white"/>
                  </a:solidFill>
                  <a:latin typeface="Century Gothic" panose="020F0302020204030204"/>
                </a:rPr>
                <a:t>OSPITI</a:t>
              </a:r>
            </a:p>
          </p:txBody>
        </p:sp>
        <p:sp>
          <p:nvSpPr>
            <p:cNvPr id="22" name="ZoneTexte 1">
              <a:extLst>
                <a:ext uri="{FF2B5EF4-FFF2-40B4-BE49-F238E27FC236}">
                  <a16:creationId xmlns:a16="http://schemas.microsoft.com/office/drawing/2014/main" id="{89FED942-AE9B-31F7-0606-261E42D1A9A6}"/>
                </a:ext>
              </a:extLst>
            </p:cNvPr>
            <p:cNvSpPr txBox="1"/>
            <p:nvPr/>
          </p:nvSpPr>
          <p:spPr>
            <a:xfrm>
              <a:off x="9636290" y="3307057"/>
              <a:ext cx="1896492" cy="408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65000"/>
                </a:lnSpc>
                <a:buClrTx/>
                <a:defRPr/>
              </a:pPr>
              <a:r>
                <a:rPr lang="fr-FR" sz="900" b="1" dirty="0">
                  <a:solidFill>
                    <a:prstClr val="white"/>
                  </a:solidFill>
                  <a:latin typeface="Century Gothic" panose="020F0302020204030204"/>
                </a:rPr>
                <a:t>DIPENDENTI</a:t>
              </a:r>
            </a:p>
          </p:txBody>
        </p:sp>
        <p:sp>
          <p:nvSpPr>
            <p:cNvPr id="24" name="ZoneTexte 1">
              <a:extLst>
                <a:ext uri="{FF2B5EF4-FFF2-40B4-BE49-F238E27FC236}">
                  <a16:creationId xmlns:a16="http://schemas.microsoft.com/office/drawing/2014/main" id="{2C58A77B-A2D4-D533-2A89-99C8B6C4534C}"/>
                </a:ext>
              </a:extLst>
            </p:cNvPr>
            <p:cNvSpPr txBox="1"/>
            <p:nvPr/>
          </p:nvSpPr>
          <p:spPr>
            <a:xfrm>
              <a:off x="7626210" y="1934614"/>
              <a:ext cx="1702084" cy="408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6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900" b="1" dirty="0">
                  <a:solidFill>
                    <a:prstClr val="white"/>
                  </a:solidFill>
                  <a:latin typeface="Century Gothic" panose="020F0302020204030204"/>
                </a:rPr>
                <a:t>FAMILIARI</a:t>
              </a:r>
            </a:p>
          </p:txBody>
        </p:sp>
        <p:cxnSp>
          <p:nvCxnSpPr>
            <p:cNvPr id="25" name="Connecteur droit 74">
              <a:extLst>
                <a:ext uri="{FF2B5EF4-FFF2-40B4-BE49-F238E27FC236}">
                  <a16:creationId xmlns:a16="http://schemas.microsoft.com/office/drawing/2014/main" id="{DD61493B-1A28-71D2-54D6-AC788755EB4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503400" y="3055273"/>
              <a:ext cx="6124" cy="379326"/>
            </a:xfrm>
            <a:prstGeom prst="line">
              <a:avLst/>
            </a:prstGeom>
            <a:ln w="158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74">
              <a:extLst>
                <a:ext uri="{FF2B5EF4-FFF2-40B4-BE49-F238E27FC236}">
                  <a16:creationId xmlns:a16="http://schemas.microsoft.com/office/drawing/2014/main" id="{274993B0-B382-E028-78C0-6A6E603B35D3}"/>
                </a:ext>
              </a:extLst>
            </p:cNvPr>
            <p:cNvCxnSpPr>
              <a:cxnSpLocks/>
            </p:cNvCxnSpPr>
            <p:nvPr/>
          </p:nvCxnSpPr>
          <p:spPr>
            <a:xfrm>
              <a:off x="8988760" y="3723186"/>
              <a:ext cx="315673" cy="0"/>
            </a:xfrm>
            <a:prstGeom prst="line">
              <a:avLst/>
            </a:prstGeom>
            <a:ln w="158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74">
              <a:extLst>
                <a:ext uri="{FF2B5EF4-FFF2-40B4-BE49-F238E27FC236}">
                  <a16:creationId xmlns:a16="http://schemas.microsoft.com/office/drawing/2014/main" id="{B85B4C81-A95D-7164-F1F7-D682F8281EF4}"/>
                </a:ext>
              </a:extLst>
            </p:cNvPr>
            <p:cNvCxnSpPr>
              <a:cxnSpLocks/>
            </p:cNvCxnSpPr>
            <p:nvPr/>
          </p:nvCxnSpPr>
          <p:spPr>
            <a:xfrm>
              <a:off x="7646844" y="3717436"/>
              <a:ext cx="315673" cy="0"/>
            </a:xfrm>
            <a:prstGeom prst="line">
              <a:avLst/>
            </a:prstGeom>
            <a:ln w="158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Image 112">
            <a:extLst>
              <a:ext uri="{FF2B5EF4-FFF2-40B4-BE49-F238E27FC236}">
                <a16:creationId xmlns:a16="http://schemas.microsoft.com/office/drawing/2014/main" id="{0684E7CA-6414-098D-9CE9-1B3C15A54C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153" y="2644360"/>
            <a:ext cx="519335" cy="5193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3872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624" imgH="623" progId="TCLayout.ActiveDocument.1">
                  <p:embed/>
                </p:oleObj>
              </mc:Choice>
              <mc:Fallback>
                <p:oleObj name="Diapositive think-cell" r:id="rId5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8423570" cy="64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1- WEDOXA</a:t>
            </a:r>
            <a:br>
              <a:rPr kumimoji="0" lang="it-IT" sz="20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</a:br>
            <a:r>
              <a:rPr kumimoji="0" lang="it-IT" sz="1600" b="1" u="none" strike="noStrike" kern="0" cap="none" spc="0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  <a:t>RECENSIONI AUTENTICATE</a:t>
            </a:r>
            <a:r>
              <a:rPr kumimoji="0" lang="it-IT" sz="16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  <a:t> </a:t>
            </a:r>
            <a:br>
              <a:rPr kumimoji="0" lang="it-IT" sz="21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</a:br>
            <a:endParaRPr kumimoji="0" lang="it-IT" sz="2100" b="1" u="none" strike="noStrike" kern="0" cap="none" spc="0" normalizeH="0" baseline="0" noProof="0" dirty="0">
              <a:ln>
                <a:noFill/>
              </a:ln>
              <a:solidFill>
                <a:srgbClr val="B7B7B7"/>
              </a:solidFill>
              <a:effectLst/>
              <a:uLnTx/>
              <a:uFillTx/>
              <a:latin typeface="Avenir Black" panose="02000503020000020003" pitchFamily="2" charset="0"/>
              <a:sym typeface="Roboto Light"/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7D899107-9CCA-2BB2-C44E-FE93AB193A22}"/>
              </a:ext>
            </a:extLst>
          </p:cNvPr>
          <p:cNvSpPr/>
          <p:nvPr/>
        </p:nvSpPr>
        <p:spPr>
          <a:xfrm>
            <a:off x="4577777" y="3042373"/>
            <a:ext cx="139695" cy="118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7421583-FB4A-B0FE-9A29-CE5ED805563B}"/>
              </a:ext>
            </a:extLst>
          </p:cNvPr>
          <p:cNvSpPr txBox="1"/>
          <p:nvPr/>
        </p:nvSpPr>
        <p:spPr>
          <a:xfrm>
            <a:off x="330892" y="1168494"/>
            <a:ext cx="473063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100" kern="1200" dirty="0">
                <a:solidFill>
                  <a:srgbClr val="333333"/>
                </a:solidFill>
                <a:latin typeface="Avenir"/>
                <a:ea typeface="+mn-ea"/>
                <a:cs typeface="+mn-cs"/>
                <a:sym typeface="Roboto Light"/>
              </a:rPr>
              <a:t>Il benessere degli ospiti passa attraverso la </a:t>
            </a:r>
            <a:r>
              <a:rPr lang="it-IT" sz="1200" b="1" kern="1200" dirty="0">
                <a:solidFill>
                  <a:srgbClr val="333333"/>
                </a:solidFill>
                <a:latin typeface="Avenir"/>
                <a:ea typeface="+mn-ea"/>
                <a:cs typeface="+mn-cs"/>
                <a:sym typeface="Roboto Light"/>
              </a:rPr>
              <a:t>SODDISFAZIONE </a:t>
            </a:r>
          </a:p>
          <a:p>
            <a:r>
              <a:rPr lang="it-IT" sz="1200" b="1" kern="1200" dirty="0">
                <a:solidFill>
                  <a:srgbClr val="333333"/>
                </a:solidFill>
                <a:latin typeface="Avenir"/>
                <a:ea typeface="+mn-ea"/>
                <a:cs typeface="+mn-cs"/>
                <a:sym typeface="Roboto Light"/>
              </a:rPr>
              <a:t>DELLE ÉQUIPE</a:t>
            </a:r>
            <a:endParaRPr lang="it-IT" sz="1200" b="1" kern="1200" dirty="0">
              <a:solidFill>
                <a:srgbClr val="333333"/>
              </a:solidFill>
              <a:latin typeface="Avenir"/>
              <a:ea typeface="+mn-ea"/>
              <a:cs typeface="+mn-cs"/>
            </a:endParaRPr>
          </a:p>
          <a:p>
            <a:endParaRPr lang="it-IT" sz="1200" kern="1200" dirty="0">
              <a:solidFill>
                <a:srgbClr val="F47575"/>
              </a:solidFill>
              <a:latin typeface="Avenir"/>
              <a:ea typeface="+mn-ea"/>
              <a:cs typeface="+mn-cs"/>
            </a:endParaRPr>
          </a:p>
          <a:p>
            <a:r>
              <a:rPr lang="it-IT" sz="1200" b="1" kern="1200" dirty="0">
                <a:solidFill>
                  <a:srgbClr val="333333"/>
                </a:solidFill>
                <a:latin typeface="Avenir"/>
                <a:ea typeface="+mn-ea"/>
                <a:cs typeface="+mn-cs"/>
              </a:rPr>
              <a:t>UN QUESTIONARIO DI SODDISFAZIONE APPOSITAMENTE STUDIATO PER I NOSTRI DIPENDENTI</a:t>
            </a:r>
          </a:p>
          <a:p>
            <a:endParaRPr lang="it-IT" b="1" kern="1200" dirty="0">
              <a:solidFill>
                <a:srgbClr val="F47575"/>
              </a:solidFill>
              <a:latin typeface="Avenir Book" panose="02000503020000020003" pitchFamily="2" charset="0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venir Book" panose="02000503020000020003" pitchFamily="2" charset="0"/>
              <a:ea typeface="+mn-ea"/>
              <a:sym typeface="Roboto Light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A2FC7F9-9840-5DBE-2EAE-A53C0392DC0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558" t="2869" r="5984" b="1770"/>
          <a:stretch/>
        </p:blipFill>
        <p:spPr>
          <a:xfrm>
            <a:off x="6232257" y="803439"/>
            <a:ext cx="2920711" cy="4340061"/>
          </a:xfrm>
          <a:prstGeom prst="rect">
            <a:avLst/>
          </a:prstGeom>
          <a:ln>
            <a:noFill/>
          </a:ln>
        </p:spPr>
      </p:pic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EBB7A12E-C627-BC30-33C6-269DC96C942D}"/>
              </a:ext>
            </a:extLst>
          </p:cNvPr>
          <p:cNvSpPr txBox="1"/>
          <p:nvPr/>
        </p:nvSpPr>
        <p:spPr>
          <a:xfrm>
            <a:off x="330892" y="2340257"/>
            <a:ext cx="2310475" cy="1400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it-IT" sz="1200" b="1" u="none" strike="noStrike" kern="1200" cap="none" spc="0" normalizeH="0" baseline="0" noProof="0" dirty="0">
                <a:ln>
                  <a:noFill/>
                </a:ln>
                <a:solidFill>
                  <a:srgbClr val="F47575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PARAMETRI VALUTATI: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Soddisfazione generale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Raccomandazione della residenza come luogo di lavoro ideale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Rapporto con i colleghi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Rapporto con il superiore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Opportunità di carriera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Il significato attribuito al proprio lavoro</a:t>
            </a:r>
          </a:p>
          <a:p>
            <a:pPr marL="171450" marR="0" lvl="0" indent="-17145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EF7F7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venir"/>
                <a:ea typeface="+mn-ea"/>
                <a:sym typeface="Arial"/>
              </a:rPr>
              <a:t>Le condizioni di lavoro</a:t>
            </a:r>
          </a:p>
        </p:txBody>
      </p:sp>
      <p:pic>
        <p:nvPicPr>
          <p:cNvPr id="2" name="Elemento grafico 1">
            <a:extLst>
              <a:ext uri="{FF2B5EF4-FFF2-40B4-BE49-F238E27FC236}">
                <a16:creationId xmlns:a16="http://schemas.microsoft.com/office/drawing/2014/main" id="{8D6A2698-3931-32D9-EA36-5F434D8CC5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61920" y="1950758"/>
            <a:ext cx="2420160" cy="2420160"/>
          </a:xfrm>
          <a:prstGeom prst="rect">
            <a:avLst/>
          </a:prstGeom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32BB2DEF-920D-8C4E-85FD-CE4A1B885AA7}"/>
              </a:ext>
            </a:extLst>
          </p:cNvPr>
          <p:cNvSpPr/>
          <p:nvPr/>
        </p:nvSpPr>
        <p:spPr>
          <a:xfrm>
            <a:off x="7907354" y="2615044"/>
            <a:ext cx="397816" cy="335755"/>
          </a:xfrm>
          <a:prstGeom prst="rect">
            <a:avLst/>
          </a:prstGeom>
          <a:solidFill>
            <a:srgbClr val="D6D4DB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5F1D3FBE-243C-C486-4229-5B918914CE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57762">
            <a:off x="8005281" y="2721487"/>
            <a:ext cx="209205" cy="1383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491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ADA6CB35-B521-858F-58B3-3079B5C5BF04}"/>
              </a:ext>
            </a:extLst>
          </p:cNvPr>
          <p:cNvSpPr txBox="1"/>
          <p:nvPr/>
        </p:nvSpPr>
        <p:spPr>
          <a:xfrm>
            <a:off x="0" y="4375094"/>
            <a:ext cx="4867835" cy="5791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624" imgH="623" progId="TCLayout.ActiveDocument.1">
                  <p:embed/>
                </p:oleObj>
              </mc:Choice>
              <mc:Fallback>
                <p:oleObj name="Diapositive think-cell" r:id="rId5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6"/>
            <a:ext cx="8423570" cy="911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2- </a:t>
            </a:r>
            <a:r>
              <a:rPr kumimoji="0" lang="it-IT" sz="2400" b="1" u="none" strike="noStrike" kern="0" cap="none" spc="0" normalizeH="0" baseline="0" noProof="0" dirty="0" err="1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iDay</a:t>
            </a:r>
            <a:br>
              <a:rPr kumimoji="0" lang="it-IT" sz="2000" b="1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</a:br>
            <a:r>
              <a:rPr lang="it-IT" sz="1600" b="1" dirty="0">
                <a:solidFill>
                  <a:srgbClr val="EF7F78"/>
                </a:solidFill>
                <a:effectLst/>
                <a:latin typeface="Avenir Heavy" panose="02000503020000020003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STRUIRE IL FUTURO INSIEME ALLE SQUADRE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8F26AED8-0286-403D-8146-759C652376A4}"/>
              </a:ext>
            </a:extLst>
          </p:cNvPr>
          <p:cNvSpPr txBox="1"/>
          <p:nvPr/>
        </p:nvSpPr>
        <p:spPr>
          <a:xfrm>
            <a:off x="2784669" y="4105789"/>
            <a:ext cx="3906551" cy="538609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 marL="6033" marR="2540" algn="ctr">
              <a:spcBef>
                <a:spcPts val="50"/>
              </a:spcBef>
            </a:pPr>
            <a:r>
              <a:rPr lang="it-IT" sz="1125" spc="-5" dirty="0">
                <a:solidFill>
                  <a:schemeClr val="tx1"/>
                </a:solidFill>
                <a:latin typeface="Avenir" panose="02000503020000020003"/>
                <a:cs typeface="Calibri"/>
              </a:rPr>
              <a:t>Un evento digitale di </a:t>
            </a:r>
            <a:r>
              <a:rPr lang="it-IT" sz="1125" b="1" spc="-5" dirty="0">
                <a:solidFill>
                  <a:schemeClr val="tx1"/>
                </a:solidFill>
                <a:latin typeface="Avenir" panose="02000503020000020003"/>
                <a:cs typeface="Calibri"/>
              </a:rPr>
              <a:t>24 ore </a:t>
            </a:r>
            <a:r>
              <a:rPr lang="it-IT" sz="1125" spc="-5" dirty="0">
                <a:solidFill>
                  <a:schemeClr val="tx1"/>
                </a:solidFill>
                <a:latin typeface="Avenir" panose="02000503020000020003"/>
                <a:cs typeface="Calibri"/>
              </a:rPr>
              <a:t>per permettere alle équipe </a:t>
            </a:r>
          </a:p>
          <a:p>
            <a:pPr marL="6033" marR="2540" algn="ctr">
              <a:spcBef>
                <a:spcPts val="50"/>
              </a:spcBef>
            </a:pPr>
            <a:r>
              <a:rPr lang="it-IT" sz="1125" spc="-5" dirty="0">
                <a:solidFill>
                  <a:schemeClr val="tx1"/>
                </a:solidFill>
                <a:latin typeface="Avenir" panose="02000503020000020003"/>
                <a:cs typeface="Calibri"/>
              </a:rPr>
              <a:t>di condividere idee, suggerimenti ed esperienze e generare soluzioni condivise</a:t>
            </a:r>
            <a:r>
              <a:rPr sz="1125" spc="-5" dirty="0">
                <a:solidFill>
                  <a:schemeClr val="tx1"/>
                </a:solidFill>
                <a:latin typeface="Avenir" panose="02000503020000020003"/>
                <a:cs typeface="Calibri"/>
              </a:rPr>
              <a:t>.</a:t>
            </a:r>
            <a:endParaRPr sz="1125" dirty="0">
              <a:solidFill>
                <a:schemeClr val="tx1"/>
              </a:solidFill>
              <a:latin typeface="Avenir" panose="02000503020000020003"/>
              <a:cs typeface="Calibri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69CE86DB-C477-7954-69F5-3BEAC6E124DF}"/>
              </a:ext>
            </a:extLst>
          </p:cNvPr>
          <p:cNvSpPr txBox="1">
            <a:spLocks/>
          </p:cNvSpPr>
          <p:nvPr/>
        </p:nvSpPr>
        <p:spPr bwMode="auto">
          <a:xfrm>
            <a:off x="2941538" y="2750256"/>
            <a:ext cx="3505835" cy="1008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59373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6350" marR="2540" algn="ctr">
              <a:lnSpc>
                <a:spcPts val="2290"/>
              </a:lnSpc>
              <a:spcBef>
                <a:spcPts val="468"/>
              </a:spcBef>
              <a:tabLst>
                <a:tab pos="704850" algn="l"/>
                <a:tab pos="911543" algn="l"/>
                <a:tab pos="1212533" algn="l"/>
                <a:tab pos="1340168" algn="l"/>
                <a:tab pos="1799908" algn="l"/>
                <a:tab pos="1848168" algn="l"/>
                <a:tab pos="2736850" algn="l"/>
                <a:tab pos="2879725" algn="l"/>
              </a:tabLst>
            </a:pPr>
            <a:r>
              <a:rPr lang="it-IT" sz="2250" b="1" dirty="0">
                <a:solidFill>
                  <a:srgbClr val="5D004A"/>
                </a:solidFill>
                <a:latin typeface="Avenir Heavy" panose="02000503020000020003" pitchFamily="2" charset="0"/>
                <a:cs typeface="Arial"/>
              </a:rPr>
              <a:t>Diamo voce ai nostri collaboratori per il futuro della nostra azienda</a:t>
            </a:r>
          </a:p>
        </p:txBody>
      </p:sp>
      <p:sp>
        <p:nvSpPr>
          <p:cNvPr id="13" name="Connettore 12">
            <a:extLst>
              <a:ext uri="{FF2B5EF4-FFF2-40B4-BE49-F238E27FC236}">
                <a16:creationId xmlns:a16="http://schemas.microsoft.com/office/drawing/2014/main" id="{8D7A8DB6-E861-41B7-3693-05831218D903}"/>
              </a:ext>
            </a:extLst>
          </p:cNvPr>
          <p:cNvSpPr/>
          <p:nvPr/>
        </p:nvSpPr>
        <p:spPr>
          <a:xfrm>
            <a:off x="3962039" y="1245106"/>
            <a:ext cx="1467293" cy="1351954"/>
          </a:xfrm>
          <a:prstGeom prst="flowChartConnector">
            <a:avLst/>
          </a:prstGeom>
          <a:solidFill>
            <a:srgbClr val="5D004A"/>
          </a:solidFill>
          <a:ln>
            <a:solidFill>
              <a:srgbClr val="5D00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object 9">
            <a:extLst>
              <a:ext uri="{FF2B5EF4-FFF2-40B4-BE49-F238E27FC236}">
                <a16:creationId xmlns:a16="http://schemas.microsoft.com/office/drawing/2014/main" id="{DE723761-6A61-FE7C-366F-2553BAB86AB1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141768" y="1506907"/>
            <a:ext cx="1107834" cy="828675"/>
          </a:xfrm>
          <a:prstGeom prst="rect">
            <a:avLst/>
          </a:prstGeom>
        </p:spPr>
      </p:pic>
      <p:grpSp>
        <p:nvGrpSpPr>
          <p:cNvPr id="16" name="object 5">
            <a:extLst>
              <a:ext uri="{FF2B5EF4-FFF2-40B4-BE49-F238E27FC236}">
                <a16:creationId xmlns:a16="http://schemas.microsoft.com/office/drawing/2014/main" id="{2C2879A9-271C-01E6-87A2-59AE14B3F9F2}"/>
              </a:ext>
            </a:extLst>
          </p:cNvPr>
          <p:cNvGrpSpPr/>
          <p:nvPr/>
        </p:nvGrpSpPr>
        <p:grpSpPr>
          <a:xfrm>
            <a:off x="-1289" y="1095040"/>
            <a:ext cx="1532966" cy="4100007"/>
            <a:chOff x="0" y="0"/>
            <a:chExt cx="6478401" cy="10286999"/>
          </a:xfrm>
        </p:grpSpPr>
        <p:pic>
          <p:nvPicPr>
            <p:cNvPr id="17" name="object 6">
              <a:extLst>
                <a:ext uri="{FF2B5EF4-FFF2-40B4-BE49-F238E27FC236}">
                  <a16:creationId xmlns:a16="http://schemas.microsoft.com/office/drawing/2014/main" id="{4A6F67AC-D1F2-B282-B48D-5983388E564A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0" y="0"/>
              <a:ext cx="6478401" cy="7967194"/>
            </a:xfrm>
            <a:prstGeom prst="rect">
              <a:avLst/>
            </a:prstGeom>
          </p:spPr>
        </p:pic>
        <p:pic>
          <p:nvPicPr>
            <p:cNvPr id="18" name="object 7">
              <a:extLst>
                <a:ext uri="{FF2B5EF4-FFF2-40B4-BE49-F238E27FC236}">
                  <a16:creationId xmlns:a16="http://schemas.microsoft.com/office/drawing/2014/main" id="{B4B403E7-E871-68B3-4D76-F2FC76CA2381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0" y="4941794"/>
              <a:ext cx="5754501" cy="5345205"/>
            </a:xfrm>
            <a:prstGeom prst="rect">
              <a:avLst/>
            </a:prstGeom>
          </p:spPr>
        </p:pic>
        <p:pic>
          <p:nvPicPr>
            <p:cNvPr id="19" name="object 8">
              <a:extLst>
                <a:ext uri="{FF2B5EF4-FFF2-40B4-BE49-F238E27FC236}">
                  <a16:creationId xmlns:a16="http://schemas.microsoft.com/office/drawing/2014/main" id="{71F996E2-70A3-163C-784D-EFAFC47B8D7C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0" y="4061707"/>
              <a:ext cx="3438096" cy="4729740"/>
            </a:xfrm>
            <a:prstGeom prst="rect">
              <a:avLst/>
            </a:prstGeom>
          </p:spPr>
        </p:pic>
      </p:grpSp>
      <p:grpSp>
        <p:nvGrpSpPr>
          <p:cNvPr id="22" name="object 10">
            <a:extLst>
              <a:ext uri="{FF2B5EF4-FFF2-40B4-BE49-F238E27FC236}">
                <a16:creationId xmlns:a16="http://schemas.microsoft.com/office/drawing/2014/main" id="{CCD6FCF7-3FE3-A3DD-8463-8DEDFC45C2B4}"/>
              </a:ext>
            </a:extLst>
          </p:cNvPr>
          <p:cNvGrpSpPr/>
          <p:nvPr/>
        </p:nvGrpSpPr>
        <p:grpSpPr>
          <a:xfrm>
            <a:off x="7531788" y="1095040"/>
            <a:ext cx="1612021" cy="4100007"/>
            <a:chOff x="15717509" y="0"/>
            <a:chExt cx="2570490" cy="10286999"/>
          </a:xfrm>
        </p:grpSpPr>
        <p:pic>
          <p:nvPicPr>
            <p:cNvPr id="23" name="object 11">
              <a:extLst>
                <a:ext uri="{FF2B5EF4-FFF2-40B4-BE49-F238E27FC236}">
                  <a16:creationId xmlns:a16="http://schemas.microsoft.com/office/drawing/2014/main" id="{46B9EB8B-4CCB-929E-29C0-67FDFF894033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5717509" y="0"/>
              <a:ext cx="2570490" cy="6914122"/>
            </a:xfrm>
            <a:prstGeom prst="rect">
              <a:avLst/>
            </a:prstGeom>
          </p:spPr>
        </p:pic>
        <p:pic>
          <p:nvPicPr>
            <p:cNvPr id="24" name="object 12">
              <a:extLst>
                <a:ext uri="{FF2B5EF4-FFF2-40B4-BE49-F238E27FC236}">
                  <a16:creationId xmlns:a16="http://schemas.microsoft.com/office/drawing/2014/main" id="{F0D11CB5-E06F-B897-3FFA-E8CF1C80A421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6549307" y="2983235"/>
              <a:ext cx="1738691" cy="7303764"/>
            </a:xfrm>
            <a:prstGeom prst="rect">
              <a:avLst/>
            </a:prstGeom>
          </p:spPr>
        </p:pic>
      </p:grpSp>
      <p:pic>
        <p:nvPicPr>
          <p:cNvPr id="29" name="object 13">
            <a:extLst>
              <a:ext uri="{FF2B5EF4-FFF2-40B4-BE49-F238E27FC236}">
                <a16:creationId xmlns:a16="http://schemas.microsoft.com/office/drawing/2014/main" id="{5905D49F-0FB5-71D1-EBD4-9E35112FBB07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927903" y="2359541"/>
            <a:ext cx="1215905" cy="2189398"/>
          </a:xfrm>
          <a:prstGeom prst="rect">
            <a:avLst/>
          </a:prstGeom>
        </p:spPr>
      </p:pic>
      <p:cxnSp>
        <p:nvCxnSpPr>
          <p:cNvPr id="3" name="Connettore 1 2">
            <a:extLst>
              <a:ext uri="{FF2B5EF4-FFF2-40B4-BE49-F238E27FC236}">
                <a16:creationId xmlns:a16="http://schemas.microsoft.com/office/drawing/2014/main" id="{35F0C423-2F75-A229-A398-FC18EBE5C1FF}"/>
              </a:ext>
            </a:extLst>
          </p:cNvPr>
          <p:cNvCxnSpPr/>
          <p:nvPr/>
        </p:nvCxnSpPr>
        <p:spPr>
          <a:xfrm>
            <a:off x="3740568" y="3904271"/>
            <a:ext cx="2017058" cy="0"/>
          </a:xfrm>
          <a:prstGeom prst="line">
            <a:avLst/>
          </a:prstGeom>
          <a:ln w="12700">
            <a:solidFill>
              <a:srgbClr val="EF7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1758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624" imgH="623" progId="TCLayout.ActiveDocument.1">
                  <p:embed/>
                </p:oleObj>
              </mc:Choice>
              <mc:Fallback>
                <p:oleObj name="Diapositive think-cell" r:id="rId5" imgW="624" imgH="623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073A59DD-BC20-D9B1-B077-BEF8CB779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93979"/>
            <a:ext cx="9144000" cy="266259"/>
          </a:xfrm>
        </p:spPr>
        <p:txBody>
          <a:bodyPr/>
          <a:lstStyle/>
          <a:p>
            <a:pPr algn="ctr"/>
            <a:br>
              <a:rPr lang="it-IT" dirty="0">
                <a:solidFill>
                  <a:srgbClr val="5D004A"/>
                </a:solidFill>
              </a:rPr>
            </a:br>
            <a:r>
              <a:rPr lang="it-IT" dirty="0">
                <a:solidFill>
                  <a:srgbClr val="5D004A"/>
                </a:solidFill>
              </a:rPr>
              <a:t>   </a:t>
            </a:r>
            <a:br>
              <a:rPr lang="it-IT" dirty="0"/>
            </a:br>
            <a:endParaRPr lang="it-IT" dirty="0"/>
          </a:p>
        </p:txBody>
      </p:sp>
      <p:sp>
        <p:nvSpPr>
          <p:cNvPr id="9" name="Titolo 3">
            <a:extLst>
              <a:ext uri="{FF2B5EF4-FFF2-40B4-BE49-F238E27FC236}">
                <a16:creationId xmlns:a16="http://schemas.microsoft.com/office/drawing/2014/main" id="{6686CB0F-EE5A-14F8-2D71-BEFFDEB8AF1D}"/>
              </a:ext>
            </a:extLst>
          </p:cNvPr>
          <p:cNvSpPr txBox="1">
            <a:spLocks/>
          </p:cNvSpPr>
          <p:nvPr/>
        </p:nvSpPr>
        <p:spPr bwMode="auto">
          <a:xfrm>
            <a:off x="448050" y="276357"/>
            <a:ext cx="18527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spcFirstLastPara="1" vert="horz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defRPr kumimoji="0" sz="2100" b="0" i="0" u="none" strike="noStrike" cap="none" baseline="0">
                <a:solidFill>
                  <a:schemeClr val="bg2"/>
                </a:solidFill>
                <a:latin typeface="Century Gothic" panose="020B0502020202020204" pitchFamily="34" charset="0"/>
                <a:ea typeface="Roboto Light"/>
                <a:cs typeface="Roboto Light"/>
                <a:sym typeface="Roboto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200"/>
              <a:buFont typeface="Economica"/>
              <a:buNone/>
              <a:defRPr sz="4200" b="0" i="0" u="none" strike="noStrike" cap="none">
                <a:solidFill>
                  <a:schemeClr val="dk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853B41"/>
              </a:buClr>
              <a:buSzPts val="3200"/>
              <a:buFont typeface="Roboto Light"/>
              <a:buNone/>
              <a:tabLst/>
              <a:defRPr/>
            </a:pPr>
            <a:r>
              <a:rPr kumimoji="0" lang="it-IT" sz="2400" b="1" u="none" strike="noStrike" kern="0" cap="none" spc="0" normalizeH="0" baseline="0" noProof="0" dirty="0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2- </a:t>
            </a:r>
            <a:r>
              <a:rPr kumimoji="0" lang="it-IT" sz="2400" b="1" u="none" strike="noStrike" kern="0" cap="none" spc="0" normalizeH="0" baseline="0" noProof="0" dirty="0" err="1">
                <a:ln>
                  <a:noFill/>
                </a:ln>
                <a:solidFill>
                  <a:srgbClr val="5D004A"/>
                </a:solidFill>
                <a:effectLst/>
                <a:uLnTx/>
                <a:uFillTx/>
                <a:latin typeface="Avenir Black" panose="02000503020000020003" pitchFamily="2" charset="0"/>
                <a:sym typeface="Roboto Light"/>
              </a:rPr>
              <a:t>iDay</a:t>
            </a:r>
            <a:br>
              <a:rPr kumimoji="0" lang="it-IT" sz="2000" b="0" i="0" u="none" strike="noStrike" kern="0" cap="none" spc="0" normalizeH="0" baseline="0" noProof="0" dirty="0">
                <a:ln>
                  <a:noFill/>
                </a:ln>
                <a:solidFill>
                  <a:srgbClr val="B7B7B7"/>
                </a:solidFill>
                <a:effectLst/>
                <a:uLnTx/>
                <a:uFillTx/>
                <a:latin typeface="Century Gothic" panose="020B0502020202020204" pitchFamily="34" charset="0"/>
                <a:ea typeface="Roboto Light"/>
                <a:cs typeface="Roboto Light"/>
                <a:sym typeface="Roboto Light"/>
              </a:rPr>
            </a:br>
            <a:r>
              <a:rPr lang="it-IT" sz="1600" b="1" dirty="0">
                <a:solidFill>
                  <a:srgbClr val="EF7F78"/>
                </a:solidFill>
                <a:effectLst/>
                <a:latin typeface="Avenir Heavy" panose="02000503020000020003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GLI</a:t>
            </a:r>
            <a:r>
              <a:rPr lang="it-IT" sz="1600" b="1" dirty="0">
                <a:solidFill>
                  <a:srgbClr val="EF7F78"/>
                </a:solidFill>
                <a:effectLst/>
                <a:latin typeface="Avenir Heavy" panose="02000503020000020003" pitchFamily="2" charset="0"/>
              </a:rPr>
              <a:t> </a:t>
            </a:r>
            <a:r>
              <a:rPr kumimoji="0" lang="it-IT" sz="1600" b="1" u="none" strike="noStrike" kern="0" cap="none" spc="0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sym typeface="Roboto Light"/>
              </a:rPr>
              <a:t>OBIETTIVI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C09BF0F-CF05-F1EC-5E4B-671C1074F6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1509" y="4620613"/>
            <a:ext cx="1380565" cy="339748"/>
          </a:xfrm>
          <a:prstGeom prst="rect">
            <a:avLst/>
          </a:prstGeom>
        </p:spPr>
      </p:pic>
      <p:grpSp>
        <p:nvGrpSpPr>
          <p:cNvPr id="58" name="Gruppo 57">
            <a:extLst>
              <a:ext uri="{FF2B5EF4-FFF2-40B4-BE49-F238E27FC236}">
                <a16:creationId xmlns:a16="http://schemas.microsoft.com/office/drawing/2014/main" id="{9B6558A5-85FB-E782-F119-C63263497FE4}"/>
              </a:ext>
            </a:extLst>
          </p:cNvPr>
          <p:cNvGrpSpPr/>
          <p:nvPr/>
        </p:nvGrpSpPr>
        <p:grpSpPr>
          <a:xfrm>
            <a:off x="663935" y="1252830"/>
            <a:ext cx="2181949" cy="2669877"/>
            <a:chOff x="759857" y="1254401"/>
            <a:chExt cx="2181949" cy="2669877"/>
          </a:xfrm>
        </p:grpSpPr>
        <p:sp>
          <p:nvSpPr>
            <p:cNvPr id="2" name="object 3">
              <a:extLst>
                <a:ext uri="{FF2B5EF4-FFF2-40B4-BE49-F238E27FC236}">
                  <a16:creationId xmlns:a16="http://schemas.microsoft.com/office/drawing/2014/main" id="{2EEF2F15-EC89-E8CC-C9E6-53E1046B3604}"/>
                </a:ext>
              </a:extLst>
            </p:cNvPr>
            <p:cNvSpPr txBox="1"/>
            <p:nvPr/>
          </p:nvSpPr>
          <p:spPr>
            <a:xfrm>
              <a:off x="903252" y="2572668"/>
              <a:ext cx="1895158" cy="487313"/>
            </a:xfrm>
            <a:prstGeom prst="rect">
              <a:avLst/>
            </a:prstGeom>
          </p:spPr>
          <p:txBody>
            <a:bodyPr vert="horz" wrap="square" lIns="0" tIns="55880" rIns="0" bIns="0" rtlCol="0">
              <a:spAutoFit/>
            </a:bodyPr>
            <a:lstStyle/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it-IT" b="1" u="none" strike="noStrike" kern="0" cap="none" normalizeH="0" baseline="0" noProof="0" dirty="0">
                  <a:ln>
                    <a:noFill/>
                  </a:ln>
                  <a:solidFill>
                    <a:srgbClr val="EF7F78"/>
                  </a:solidFill>
                  <a:effectLst/>
                  <a:uLnTx/>
                  <a:uFillTx/>
                  <a:latin typeface="Avenir Heavy" panose="02000503020000020003" pitchFamily="2" charset="0"/>
                  <a:cs typeface="Calibri"/>
                  <a:sym typeface="Arial"/>
                </a:rPr>
                <a:t> La strategia aziendale </a:t>
              </a:r>
            </a:p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it-IT" b="1" u="none" strike="noStrike" kern="0" cap="none" normalizeH="0" baseline="0" noProof="0" dirty="0">
                  <a:ln>
                    <a:noFill/>
                  </a:ln>
                  <a:solidFill>
                    <a:srgbClr val="EF7F78"/>
                  </a:solidFill>
                  <a:effectLst/>
                  <a:uLnTx/>
                  <a:uFillTx/>
                  <a:latin typeface="Avenir Heavy" panose="02000503020000020003" pitchFamily="2" charset="0"/>
                  <a:cs typeface="Calibri"/>
                  <a:sym typeface="Arial"/>
                </a:rPr>
                <a:t>in azione</a:t>
              </a:r>
              <a:endParaRPr kumimoji="0" b="1" u="none" strike="noStrike" kern="0" cap="none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cs typeface="Calibri"/>
                <a:sym typeface="Arial"/>
              </a:endParaRPr>
            </a:p>
          </p:txBody>
        </p:sp>
        <p:grpSp>
          <p:nvGrpSpPr>
            <p:cNvPr id="55" name="Gruppo 54">
              <a:extLst>
                <a:ext uri="{FF2B5EF4-FFF2-40B4-BE49-F238E27FC236}">
                  <a16:creationId xmlns:a16="http://schemas.microsoft.com/office/drawing/2014/main" id="{B07A15B9-1FC7-5B1E-F3B7-0DFC7AE85E30}"/>
                </a:ext>
              </a:extLst>
            </p:cNvPr>
            <p:cNvGrpSpPr/>
            <p:nvPr/>
          </p:nvGrpSpPr>
          <p:grpSpPr>
            <a:xfrm>
              <a:off x="1536944" y="1701780"/>
              <a:ext cx="627775" cy="627775"/>
              <a:chOff x="1531488" y="1701780"/>
              <a:chExt cx="627775" cy="627775"/>
            </a:xfrm>
          </p:grpSpPr>
          <p:sp>
            <p:nvSpPr>
              <p:cNvPr id="24" name="Ovale 23">
                <a:extLst>
                  <a:ext uri="{FF2B5EF4-FFF2-40B4-BE49-F238E27FC236}">
                    <a16:creationId xmlns:a16="http://schemas.microsoft.com/office/drawing/2014/main" id="{2CF66FEE-EF00-068C-59A4-B0DE4E725050}"/>
                  </a:ext>
                </a:extLst>
              </p:cNvPr>
              <p:cNvSpPr/>
              <p:nvPr/>
            </p:nvSpPr>
            <p:spPr>
              <a:xfrm>
                <a:off x="1531488" y="1701780"/>
                <a:ext cx="627775" cy="627775"/>
              </a:xfrm>
              <a:prstGeom prst="ellipse">
                <a:avLst/>
              </a:prstGeom>
              <a:solidFill>
                <a:srgbClr val="EF7F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25" name="object 11">
                <a:extLst>
                  <a:ext uri="{FF2B5EF4-FFF2-40B4-BE49-F238E27FC236}">
                    <a16:creationId xmlns:a16="http://schemas.microsoft.com/office/drawing/2014/main" id="{67A535C0-97C4-B6BF-F16F-553EB3497185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661830" y="1788464"/>
                <a:ext cx="367089" cy="44615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32" name="object 18">
              <a:extLst>
                <a:ext uri="{FF2B5EF4-FFF2-40B4-BE49-F238E27FC236}">
                  <a16:creationId xmlns:a16="http://schemas.microsoft.com/office/drawing/2014/main" id="{4A064E37-8B9B-F021-2786-BFB97065053B}"/>
                </a:ext>
              </a:extLst>
            </p:cNvPr>
            <p:cNvSpPr txBox="1"/>
            <p:nvPr/>
          </p:nvSpPr>
          <p:spPr>
            <a:xfrm>
              <a:off x="1169239" y="1254401"/>
              <a:ext cx="1363185" cy="221856"/>
            </a:xfrm>
            <a:prstGeom prst="rect">
              <a:avLst/>
            </a:prstGeom>
          </p:spPr>
          <p:txBody>
            <a:bodyPr vert="horz" wrap="square" lIns="0" tIns="6350" rIns="0" bIns="0" rtlCol="0">
              <a:spAutoFit/>
            </a:bodyPr>
            <a:lstStyle/>
            <a:p>
              <a:pPr marL="635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5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INNOVA</a:t>
              </a:r>
              <a:r>
                <a:rPr lang="it-IT"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ZIONE</a:t>
              </a:r>
              <a:endParaRPr b="1" kern="1200" dirty="0">
                <a:solidFill>
                  <a:srgbClr val="9C135B"/>
                </a:solidFill>
                <a:latin typeface="Avenir Heavy" panose="02000503020000020003" pitchFamily="2" charset="0"/>
                <a:ea typeface="+mn-ea"/>
                <a:cs typeface="+mn-cs"/>
              </a:endParaRPr>
            </a:p>
          </p:txBody>
        </p:sp>
        <p:sp>
          <p:nvSpPr>
            <p:cNvPr id="38" name="CasellaDiTesto 37">
              <a:extLst>
                <a:ext uri="{FF2B5EF4-FFF2-40B4-BE49-F238E27FC236}">
                  <a16:creationId xmlns:a16="http://schemas.microsoft.com/office/drawing/2014/main" id="{9811DC0B-06A9-5C70-90F0-BF47D1C5C05E}"/>
                </a:ext>
              </a:extLst>
            </p:cNvPr>
            <p:cNvSpPr txBox="1"/>
            <p:nvPr/>
          </p:nvSpPr>
          <p:spPr>
            <a:xfrm>
              <a:off x="759857" y="3277947"/>
              <a:ext cx="218194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13970" lvl="0" indent="0" algn="ctr" defTabSz="914400" rtl="0" eaLnBrk="1" fontAlgn="auto" latinLnBrk="0" hangingPunct="1"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  <a:t>Il management definisce la visione, </a:t>
              </a:r>
            </a:p>
            <a:p>
              <a:pPr marR="13970" lvl="0" indent="0" algn="ctr" defTabSz="914400" rtl="0" eaLnBrk="1" fontAlgn="auto" latinLnBrk="0" hangingPunct="1"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  <a:t>dalle squadre nascono idee concrete ed efficaci per raggiungere </a:t>
              </a:r>
            </a:p>
            <a:p>
              <a:pPr marR="13970" lvl="0" indent="0" algn="ctr" defTabSz="914400" rtl="0" eaLnBrk="1" fontAlgn="auto" latinLnBrk="0" hangingPunct="1"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  <a:t>gli obiettivi!</a:t>
              </a:r>
            </a:p>
          </p:txBody>
        </p:sp>
      </p:grpSp>
      <p:grpSp>
        <p:nvGrpSpPr>
          <p:cNvPr id="57" name="Gruppo 56">
            <a:extLst>
              <a:ext uri="{FF2B5EF4-FFF2-40B4-BE49-F238E27FC236}">
                <a16:creationId xmlns:a16="http://schemas.microsoft.com/office/drawing/2014/main" id="{ABF44143-206D-3491-1292-EB4DFD741195}"/>
              </a:ext>
            </a:extLst>
          </p:cNvPr>
          <p:cNvGrpSpPr/>
          <p:nvPr/>
        </p:nvGrpSpPr>
        <p:grpSpPr>
          <a:xfrm>
            <a:off x="3613583" y="1252830"/>
            <a:ext cx="2193925" cy="2652520"/>
            <a:chOff x="3535580" y="1229782"/>
            <a:chExt cx="2193925" cy="2652520"/>
          </a:xfrm>
        </p:grpSpPr>
        <p:sp>
          <p:nvSpPr>
            <p:cNvPr id="7" name="object 6">
              <a:extLst>
                <a:ext uri="{FF2B5EF4-FFF2-40B4-BE49-F238E27FC236}">
                  <a16:creationId xmlns:a16="http://schemas.microsoft.com/office/drawing/2014/main" id="{D3C67279-8A04-A6E0-36E7-9E1C4553712C}"/>
                </a:ext>
              </a:extLst>
            </p:cNvPr>
            <p:cNvSpPr txBox="1"/>
            <p:nvPr/>
          </p:nvSpPr>
          <p:spPr>
            <a:xfrm>
              <a:off x="3535580" y="3278611"/>
              <a:ext cx="2193925" cy="603691"/>
            </a:xfrm>
            <a:prstGeom prst="rect">
              <a:avLst/>
            </a:prstGeom>
          </p:spPr>
          <p:txBody>
            <a:bodyPr vert="horz" wrap="square" lIns="0" tIns="49213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88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  <a:t>Unire e motivare i dipendenti, all’interno della stessa Residenze e tra Residenze diverse, indipendentemente </a:t>
              </a:r>
              <a:b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</a:br>
              <a:r>
                <a:rPr lang="it-IT" sz="900" kern="1200" dirty="0">
                  <a:solidFill>
                    <a:schemeClr val="tx1"/>
                  </a:solidFill>
                  <a:latin typeface="Avenir Book" panose="02000503020000020003" pitchFamily="2" charset="0"/>
                  <a:ea typeface="+mn-ea"/>
                  <a:cs typeface="+mn-cs"/>
                </a:rPr>
                <a:t>dal ruolo ricoperto.</a:t>
              </a:r>
              <a:endParaRPr sz="900" kern="1200" dirty="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endParaRPr>
            </a:p>
          </p:txBody>
        </p:sp>
        <p:grpSp>
          <p:nvGrpSpPr>
            <p:cNvPr id="54" name="Gruppo 53">
              <a:extLst>
                <a:ext uri="{FF2B5EF4-FFF2-40B4-BE49-F238E27FC236}">
                  <a16:creationId xmlns:a16="http://schemas.microsoft.com/office/drawing/2014/main" id="{86FB54E8-BC11-14D1-FD0D-FD5E549E8581}"/>
                </a:ext>
              </a:extLst>
            </p:cNvPr>
            <p:cNvGrpSpPr/>
            <p:nvPr/>
          </p:nvGrpSpPr>
          <p:grpSpPr>
            <a:xfrm>
              <a:off x="4289984" y="1749319"/>
              <a:ext cx="685117" cy="627775"/>
              <a:chOff x="4321949" y="1749319"/>
              <a:chExt cx="685117" cy="627775"/>
            </a:xfrm>
          </p:grpSpPr>
          <p:sp>
            <p:nvSpPr>
              <p:cNvPr id="49" name="Ovale 48">
                <a:extLst>
                  <a:ext uri="{FF2B5EF4-FFF2-40B4-BE49-F238E27FC236}">
                    <a16:creationId xmlns:a16="http://schemas.microsoft.com/office/drawing/2014/main" id="{B3A760DD-0E4C-C032-5637-978A743BDF4C}"/>
                  </a:ext>
                </a:extLst>
              </p:cNvPr>
              <p:cNvSpPr/>
              <p:nvPr/>
            </p:nvSpPr>
            <p:spPr>
              <a:xfrm>
                <a:off x="4350619" y="1749319"/>
                <a:ext cx="627775" cy="627775"/>
              </a:xfrm>
              <a:prstGeom prst="ellipse">
                <a:avLst/>
              </a:prstGeom>
              <a:solidFill>
                <a:srgbClr val="EF7F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27" name="object 14">
                <a:extLst>
                  <a:ext uri="{FF2B5EF4-FFF2-40B4-BE49-F238E27FC236}">
                    <a16:creationId xmlns:a16="http://schemas.microsoft.com/office/drawing/2014/main" id="{0FF711D3-9E53-7E61-BB7E-4D4FAA5B2E74}"/>
                  </a:ext>
                </a:extLst>
              </p:cNvPr>
              <p:cNvPicPr/>
              <p:nvPr/>
            </p:nvPicPr>
            <p:blipFill rotWithShape="1">
              <a:blip r:embed="rId9" cstate="print"/>
              <a:srcRect t="13590" b="29508"/>
              <a:stretch/>
            </p:blipFill>
            <p:spPr>
              <a:xfrm>
                <a:off x="4321949" y="1819551"/>
                <a:ext cx="685117" cy="487313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3" name="object 19">
              <a:extLst>
                <a:ext uri="{FF2B5EF4-FFF2-40B4-BE49-F238E27FC236}">
                  <a16:creationId xmlns:a16="http://schemas.microsoft.com/office/drawing/2014/main" id="{2234A83C-E557-A632-E5F1-F56ADF96DCE1}"/>
                </a:ext>
              </a:extLst>
            </p:cNvPr>
            <p:cNvSpPr txBox="1"/>
            <p:nvPr/>
          </p:nvSpPr>
          <p:spPr>
            <a:xfrm>
              <a:off x="3950949" y="1229782"/>
              <a:ext cx="1363186" cy="221856"/>
            </a:xfrm>
            <a:prstGeom prst="rect">
              <a:avLst/>
            </a:prstGeom>
          </p:spPr>
          <p:txBody>
            <a:bodyPr vert="horz" wrap="square" lIns="0" tIns="6350" rIns="0" bIns="0" rtlCol="0">
              <a:spAutoFit/>
            </a:bodyPr>
            <a:lstStyle/>
            <a:p>
              <a:pPr marL="6350" algn="ctr">
                <a:spcBef>
                  <a:spcPts val="50"/>
                </a:spcBef>
              </a:pPr>
              <a:r>
                <a:rPr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CORPORATE</a:t>
              </a:r>
            </a:p>
          </p:txBody>
        </p:sp>
        <p:sp>
          <p:nvSpPr>
            <p:cNvPr id="10" name="object 3">
              <a:extLst>
                <a:ext uri="{FF2B5EF4-FFF2-40B4-BE49-F238E27FC236}">
                  <a16:creationId xmlns:a16="http://schemas.microsoft.com/office/drawing/2014/main" id="{93C6B21A-98E3-96D1-CA47-AA58A0683697}"/>
                </a:ext>
              </a:extLst>
            </p:cNvPr>
            <p:cNvSpPr txBox="1"/>
            <p:nvPr/>
          </p:nvSpPr>
          <p:spPr>
            <a:xfrm>
              <a:off x="3684963" y="2566683"/>
              <a:ext cx="1895158" cy="487313"/>
            </a:xfrm>
            <a:prstGeom prst="rect">
              <a:avLst/>
            </a:prstGeom>
          </p:spPr>
          <p:txBody>
            <a:bodyPr vert="horz" wrap="square" lIns="0" tIns="55880" rIns="0" bIns="0" rtlCol="0">
              <a:spAutoFit/>
            </a:bodyPr>
            <a:lstStyle/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dirty="0">
                  <a:solidFill>
                    <a:srgbClr val="EF7F78"/>
                  </a:solidFill>
                  <a:latin typeface="Avenir Heavy" panose="02000503020000020003" pitchFamily="2" charset="0"/>
                  <a:cs typeface="Calibri"/>
                </a:rPr>
                <a:t>Creare</a:t>
              </a:r>
            </a:p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dirty="0">
                  <a:solidFill>
                    <a:srgbClr val="EF7F78"/>
                  </a:solidFill>
                  <a:latin typeface="Avenir Heavy" panose="02000503020000020003" pitchFamily="2" charset="0"/>
                  <a:cs typeface="Calibri"/>
                </a:rPr>
                <a:t>una squadra</a:t>
              </a:r>
              <a:endParaRPr kumimoji="0" b="1" u="none" strike="noStrike" kern="0" cap="none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cs typeface="Calibri"/>
                <a:sym typeface="Arial"/>
              </a:endParaRPr>
            </a:p>
          </p:txBody>
        </p:sp>
      </p:grpSp>
      <p:grpSp>
        <p:nvGrpSpPr>
          <p:cNvPr id="56" name="Gruppo 55">
            <a:extLst>
              <a:ext uri="{FF2B5EF4-FFF2-40B4-BE49-F238E27FC236}">
                <a16:creationId xmlns:a16="http://schemas.microsoft.com/office/drawing/2014/main" id="{3A9C17CA-4A91-37DE-3858-0C706A906B6F}"/>
              </a:ext>
            </a:extLst>
          </p:cNvPr>
          <p:cNvGrpSpPr/>
          <p:nvPr/>
        </p:nvGrpSpPr>
        <p:grpSpPr>
          <a:xfrm>
            <a:off x="6556069" y="1252830"/>
            <a:ext cx="2193925" cy="2651856"/>
            <a:chOff x="6556069" y="1229782"/>
            <a:chExt cx="2193925" cy="2651856"/>
          </a:xfrm>
        </p:grpSpPr>
        <p:grpSp>
          <p:nvGrpSpPr>
            <p:cNvPr id="53" name="Gruppo 52">
              <a:extLst>
                <a:ext uri="{FF2B5EF4-FFF2-40B4-BE49-F238E27FC236}">
                  <a16:creationId xmlns:a16="http://schemas.microsoft.com/office/drawing/2014/main" id="{FBFD1DE7-DDBA-13F4-5211-9959C310B22F}"/>
                </a:ext>
              </a:extLst>
            </p:cNvPr>
            <p:cNvGrpSpPr/>
            <p:nvPr/>
          </p:nvGrpSpPr>
          <p:grpSpPr>
            <a:xfrm>
              <a:off x="7339144" y="1701780"/>
              <a:ext cx="627775" cy="627775"/>
              <a:chOff x="7156433" y="1701780"/>
              <a:chExt cx="627775" cy="627775"/>
            </a:xfrm>
          </p:grpSpPr>
          <p:sp>
            <p:nvSpPr>
              <p:cNvPr id="52" name="Ovale 51">
                <a:extLst>
                  <a:ext uri="{FF2B5EF4-FFF2-40B4-BE49-F238E27FC236}">
                    <a16:creationId xmlns:a16="http://schemas.microsoft.com/office/drawing/2014/main" id="{43DDEBF0-DFC5-B19E-65E0-A0F5E585F799}"/>
                  </a:ext>
                </a:extLst>
              </p:cNvPr>
              <p:cNvSpPr/>
              <p:nvPr/>
            </p:nvSpPr>
            <p:spPr>
              <a:xfrm>
                <a:off x="7156433" y="1701780"/>
                <a:ext cx="627775" cy="627775"/>
              </a:xfrm>
              <a:prstGeom prst="ellipse">
                <a:avLst/>
              </a:prstGeom>
              <a:solidFill>
                <a:srgbClr val="EF7F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31" name="object 17">
                <a:extLst>
                  <a:ext uri="{FF2B5EF4-FFF2-40B4-BE49-F238E27FC236}">
                    <a16:creationId xmlns:a16="http://schemas.microsoft.com/office/drawing/2014/main" id="{8E5E3728-07E1-DDEB-966F-494DF92504FD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7290217" y="1829912"/>
                <a:ext cx="383901" cy="46658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34" name="object 20">
              <a:extLst>
                <a:ext uri="{FF2B5EF4-FFF2-40B4-BE49-F238E27FC236}">
                  <a16:creationId xmlns:a16="http://schemas.microsoft.com/office/drawing/2014/main" id="{E61B1A13-C4BF-4A9C-89C0-324A0BBFEA71}"/>
                </a:ext>
              </a:extLst>
            </p:cNvPr>
            <p:cNvSpPr txBox="1"/>
            <p:nvPr/>
          </p:nvSpPr>
          <p:spPr>
            <a:xfrm>
              <a:off x="6900364" y="1229782"/>
              <a:ext cx="1505334" cy="221856"/>
            </a:xfrm>
            <a:prstGeom prst="rect">
              <a:avLst/>
            </a:prstGeom>
          </p:spPr>
          <p:txBody>
            <a:bodyPr vert="horz" wrap="square" lIns="0" tIns="6350" rIns="0" bIns="0" rtlCol="0">
              <a:spAutoFit/>
            </a:bodyPr>
            <a:lstStyle/>
            <a:p>
              <a:pPr marL="6350" lvl="0" indent="0" algn="ctr" defTabSz="914400" eaLnBrk="1" fontAlgn="auto" latinLnBrk="0" hangingPunct="1">
                <a:spcBef>
                  <a:spcPts val="50"/>
                </a:spcBef>
                <a:buSzTx/>
                <a:buFont typeface="Arial"/>
                <a:buNone/>
                <a:tabLst/>
                <a:defRPr/>
              </a:pPr>
              <a:r>
                <a:rPr b="1" kern="1200" dirty="0">
                  <a:solidFill>
                    <a:srgbClr val="9C135B"/>
                  </a:solidFill>
                  <a:latin typeface="Avenir Heavy" panose="02000503020000020003" pitchFamily="2" charset="0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11" name="object 3">
              <a:extLst>
                <a:ext uri="{FF2B5EF4-FFF2-40B4-BE49-F238E27FC236}">
                  <a16:creationId xmlns:a16="http://schemas.microsoft.com/office/drawing/2014/main" id="{FC6C69E9-AA44-2109-8524-DE27116B031F}"/>
                </a:ext>
              </a:extLst>
            </p:cNvPr>
            <p:cNvSpPr txBox="1"/>
            <p:nvPr/>
          </p:nvSpPr>
          <p:spPr>
            <a:xfrm>
              <a:off x="6705452" y="2569159"/>
              <a:ext cx="1895158" cy="487313"/>
            </a:xfrm>
            <a:prstGeom prst="rect">
              <a:avLst/>
            </a:prstGeom>
          </p:spPr>
          <p:txBody>
            <a:bodyPr vert="horz" wrap="square" lIns="0" tIns="55880" rIns="0" bIns="0" rtlCol="0">
              <a:spAutoFit/>
            </a:bodyPr>
            <a:lstStyle/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dirty="0">
                  <a:solidFill>
                    <a:srgbClr val="EF7F78"/>
                  </a:solidFill>
                  <a:latin typeface="Avenir Heavy" panose="02000503020000020003" pitchFamily="2" charset="0"/>
                  <a:cs typeface="Calibri"/>
                </a:rPr>
                <a:t>Gestire attraverso</a:t>
              </a:r>
            </a:p>
            <a:p>
              <a:pPr marR="2540" lvl="0" indent="-572453" algn="ctr" defTabSz="914400" rtl="0" eaLnBrk="1" fontAlgn="auto" latinLnBrk="0" hangingPunct="1"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dirty="0">
                  <a:solidFill>
                    <a:srgbClr val="EF7F78"/>
                  </a:solidFill>
                  <a:latin typeface="Avenir Heavy" panose="02000503020000020003" pitchFamily="2" charset="0"/>
                  <a:cs typeface="Calibri"/>
                </a:rPr>
                <a:t>l</a:t>
              </a:r>
              <a:r>
                <a:rPr kumimoji="0" lang="it-IT" b="1" u="none" strike="noStrike" kern="0" cap="none" normalizeH="0" baseline="0" noProof="0" dirty="0">
                  <a:ln>
                    <a:noFill/>
                  </a:ln>
                  <a:solidFill>
                    <a:srgbClr val="EF7F78"/>
                  </a:solidFill>
                  <a:effectLst/>
                  <a:uLnTx/>
                  <a:uFillTx/>
                  <a:latin typeface="Avenir Heavy" panose="02000503020000020003" pitchFamily="2" charset="0"/>
                  <a:cs typeface="Calibri"/>
                  <a:sym typeface="Arial"/>
                </a:rPr>
                <a:t>’impegno</a:t>
              </a:r>
              <a:endParaRPr kumimoji="0" b="1" u="none" strike="noStrike" kern="0" cap="none" normalizeH="0" baseline="0" noProof="0" dirty="0">
                <a:ln>
                  <a:noFill/>
                </a:ln>
                <a:solidFill>
                  <a:srgbClr val="EF7F78"/>
                </a:solidFill>
                <a:effectLst/>
                <a:uLnTx/>
                <a:uFillTx/>
                <a:latin typeface="Avenir Heavy" panose="02000503020000020003" pitchFamily="2" charset="0"/>
                <a:cs typeface="Calibri"/>
                <a:sym typeface="Arial"/>
              </a:endParaRPr>
            </a:p>
          </p:txBody>
        </p:sp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9E9816CB-D140-C715-1C94-22B685A6E470}"/>
                </a:ext>
              </a:extLst>
            </p:cNvPr>
            <p:cNvSpPr txBox="1"/>
            <p:nvPr/>
          </p:nvSpPr>
          <p:spPr>
            <a:xfrm>
              <a:off x="6556069" y="3277947"/>
              <a:ext cx="2193925" cy="603691"/>
            </a:xfrm>
            <a:prstGeom prst="rect">
              <a:avLst/>
            </a:prstGeom>
          </p:spPr>
          <p:txBody>
            <a:bodyPr vert="horz" wrap="square" lIns="0" tIns="49213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88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sz="900" dirty="0">
                  <a:solidFill>
                    <a:schemeClr val="tx1"/>
                  </a:solidFill>
                  <a:effectLst/>
                  <a:latin typeface="Avenir Book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L’evento è una straordinaria occasione per tutti i dipendenti di condividere la visione dell’azienda. E per i manager </a:t>
              </a:r>
              <a:br>
                <a:rPr lang="it-IT" sz="900" dirty="0">
                  <a:solidFill>
                    <a:schemeClr val="tx1"/>
                  </a:solidFill>
                  <a:effectLst/>
                  <a:latin typeface="Avenir Book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it-IT" sz="900" dirty="0">
                  <a:solidFill>
                    <a:schemeClr val="tx1"/>
                  </a:solidFill>
                  <a:effectLst/>
                  <a:latin typeface="Avenir Book" panose="02000503020000020003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di coinvolgere i loro team.</a:t>
              </a:r>
              <a:r>
                <a:rPr lang="it-IT" sz="900" dirty="0">
                  <a:solidFill>
                    <a:schemeClr val="tx1"/>
                  </a:solidFill>
                  <a:effectLst/>
                  <a:latin typeface="Avenir Book" panose="02000503020000020003" pitchFamily="2" charset="0"/>
                </a:rPr>
                <a:t> </a:t>
              </a:r>
              <a:endParaRPr sz="900" kern="1200" dirty="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endParaRPr>
            </a:p>
          </p:txBody>
        </p:sp>
      </p:grpSp>
      <p:cxnSp>
        <p:nvCxnSpPr>
          <p:cNvPr id="21" name="Connettore 1 20">
            <a:extLst>
              <a:ext uri="{FF2B5EF4-FFF2-40B4-BE49-F238E27FC236}">
                <a16:creationId xmlns:a16="http://schemas.microsoft.com/office/drawing/2014/main" id="{87F1BBA3-FADC-7389-5BB8-F61B83091DDD}"/>
              </a:ext>
            </a:extLst>
          </p:cNvPr>
          <p:cNvCxnSpPr/>
          <p:nvPr/>
        </p:nvCxnSpPr>
        <p:spPr>
          <a:xfrm>
            <a:off x="3232727" y="1229782"/>
            <a:ext cx="0" cy="2861927"/>
          </a:xfrm>
          <a:prstGeom prst="line">
            <a:avLst/>
          </a:prstGeom>
          <a:ln>
            <a:solidFill>
              <a:srgbClr val="EF7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>
            <a:extLst>
              <a:ext uri="{FF2B5EF4-FFF2-40B4-BE49-F238E27FC236}">
                <a16:creationId xmlns:a16="http://schemas.microsoft.com/office/drawing/2014/main" id="{A90A82FE-8A31-BE98-C812-D2AE2B2E2DF2}"/>
              </a:ext>
            </a:extLst>
          </p:cNvPr>
          <p:cNvCxnSpPr/>
          <p:nvPr/>
        </p:nvCxnSpPr>
        <p:spPr>
          <a:xfrm>
            <a:off x="6188363" y="1229782"/>
            <a:ext cx="0" cy="2861927"/>
          </a:xfrm>
          <a:prstGeom prst="line">
            <a:avLst/>
          </a:prstGeom>
          <a:ln>
            <a:solidFill>
              <a:srgbClr val="EF7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3962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colisee_titreslide"/>
  <p:tag name="EE4P_HIDDEN_MASTER_SHAP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AVEDPATH" val="\\Intranet.barcapint.com\DFS-EMEA\GROUP\Ldn\IBD_EBK\ACTIVE PROJECTS\F\FINANCIERE COLISEE_221478\BBB_221478.3\2_Lender Pres\2019.11 Colisee_Repricing_LenderPres_v26 HC Rider.pptx"/>
  <p:tag name="SAVEDPATHUNC" val="\\Intranet.barcapint.com\DFS-EMEA\GROUP\Ldn\IBD_EBK\ACTIVE PROJECTS\F\FINANCIERE COLISEE_221478\BBB_221478.3\2_Lender Pres\2019.11 Colisee_Repricing_LenderPres_v26 HC Rider.pptx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xe">
  <a:themeElements>
    <a:clrScheme name="Luxe">
      <a:dk1>
        <a:srgbClr val="000000"/>
      </a:dk1>
      <a:lt1>
        <a:srgbClr val="FFFFFF"/>
      </a:lt1>
      <a:dk2>
        <a:srgbClr val="B7B7B7"/>
      </a:dk2>
      <a:lt2>
        <a:srgbClr val="CCA677"/>
      </a:lt2>
      <a:accent1>
        <a:srgbClr val="5D4037"/>
      </a:accent1>
      <a:accent2>
        <a:srgbClr val="455A64"/>
      </a:accent2>
      <a:accent3>
        <a:srgbClr val="57BB8A"/>
      </a:accent3>
      <a:accent4>
        <a:srgbClr val="78909C"/>
      </a:accent4>
      <a:accent5>
        <a:srgbClr val="607D8B"/>
      </a:accent5>
      <a:accent6>
        <a:srgbClr val="DCE755"/>
      </a:accent6>
      <a:hlink>
        <a:srgbClr val="607D8B"/>
      </a:hlink>
      <a:folHlink>
        <a:srgbClr val="607D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5</TotalTime>
  <Words>852</Words>
  <Application>Microsoft Office PowerPoint</Application>
  <PresentationFormat>Presentazione su schermo (16:9)</PresentationFormat>
  <Paragraphs>213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30" baseType="lpstr">
      <vt:lpstr>Avenir Book</vt:lpstr>
      <vt:lpstr>Arial Narrow</vt:lpstr>
      <vt:lpstr>Roboto Black</vt:lpstr>
      <vt:lpstr>Avenir Black</vt:lpstr>
      <vt:lpstr>Roboto Light</vt:lpstr>
      <vt:lpstr>Avenir Light</vt:lpstr>
      <vt:lpstr>Economica</vt:lpstr>
      <vt:lpstr>Centennial LT Std 45 Light</vt:lpstr>
      <vt:lpstr>Arial</vt:lpstr>
      <vt:lpstr>Roboto</vt:lpstr>
      <vt:lpstr>Century Gothic</vt:lpstr>
      <vt:lpstr>Avenir Heavy</vt:lpstr>
      <vt:lpstr>Roboto Thin</vt:lpstr>
      <vt:lpstr>Avenir</vt:lpstr>
      <vt:lpstr>Luxe</vt:lpstr>
      <vt:lpstr>Diapositive think-cell</vt:lpstr>
      <vt:lpstr>Presentazione standard di PowerPoint</vt:lpstr>
      <vt:lpstr>CHI È COLISÉE?  4° ATTORE EUROPEO NEL SEGMENTO  DELL’ASSISTENZA AGLI ANZIANI     </vt:lpstr>
      <vt:lpstr>LE NOSTRE RESIDENZE IN ITALIA Insieme, per Promuovere l’invecchiamento positivo della persona</vt:lpstr>
      <vt:lpstr>LAVORARE IN RSA ESPERIENZE, COINVOLGIMENTO, FORMAZIONE PER UNA COSTANTE CRESCITA PROFESSIONALE</vt:lpstr>
      <vt:lpstr>Presentazione standard di PowerPoint</vt:lpstr>
      <vt:lpstr>     </vt:lpstr>
      <vt:lpstr>     </vt:lpstr>
      <vt:lpstr>     </vt:lpstr>
      <vt:lpstr>     </vt:lpstr>
      <vt:lpstr>     </vt:lpstr>
      <vt:lpstr>     </vt:lpstr>
      <vt:lpstr>     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Chiara CAFFI</dc:creator>
  <cp:lastModifiedBy>Elena LOREJA</cp:lastModifiedBy>
  <cp:revision>15</cp:revision>
  <dcterms:modified xsi:type="dcterms:W3CDTF">2023-04-14T12:14:04Z</dcterms:modified>
</cp:coreProperties>
</file>